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12" r:id="rId4"/>
    <p:sldMasterId id="2147483660" r:id="rId5"/>
  </p:sldMasterIdLst>
  <p:notesMasterIdLst>
    <p:notesMasterId r:id="rId21"/>
  </p:notesMasterIdLst>
  <p:handoutMasterIdLst>
    <p:handoutMasterId r:id="rId22"/>
  </p:handoutMasterIdLst>
  <p:sldIdLst>
    <p:sldId id="2147471623" r:id="rId6"/>
    <p:sldId id="2147471637" r:id="rId7"/>
    <p:sldId id="2147471641" r:id="rId8"/>
    <p:sldId id="2147471635" r:id="rId9"/>
    <p:sldId id="2147471639" r:id="rId10"/>
    <p:sldId id="2147471640" r:id="rId11"/>
    <p:sldId id="2147471638" r:id="rId12"/>
    <p:sldId id="2147471629" r:id="rId13"/>
    <p:sldId id="2147471630" r:id="rId14"/>
    <p:sldId id="2147471632" r:id="rId15"/>
    <p:sldId id="2147471627" r:id="rId16"/>
    <p:sldId id="2147471626" r:id="rId17"/>
    <p:sldId id="2147471621" r:id="rId18"/>
    <p:sldId id="2147471620" r:id="rId19"/>
    <p:sldId id="2147471636" r:id="rId20"/>
  </p:sldIdLst>
  <p:sldSz cx="12192000" cy="6858000"/>
  <p:notesSz cx="7010400" cy="9296400"/>
  <p:defaultTextStyle>
    <a:defPPr>
      <a:defRPr lang="en-US"/>
    </a:defPPr>
    <a:lvl1pPr marL="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ogram Updates" id="{35269195-3FC2-8746-9907-2531F9FA2975}">
          <p14:sldIdLst>
            <p14:sldId id="2147471623"/>
            <p14:sldId id="2147471637"/>
            <p14:sldId id="2147471641"/>
            <p14:sldId id="2147471635"/>
            <p14:sldId id="2147471639"/>
            <p14:sldId id="2147471640"/>
            <p14:sldId id="2147471638"/>
            <p14:sldId id="2147471629"/>
          </p14:sldIdLst>
        </p14:section>
        <p14:section name="Appendix" id="{975782CB-9832-478C-8AFA-278DDB482AD1}">
          <p14:sldIdLst>
            <p14:sldId id="2147471630"/>
            <p14:sldId id="2147471632"/>
            <p14:sldId id="2147471627"/>
            <p14:sldId id="2147471626"/>
            <p14:sldId id="2147471621"/>
            <p14:sldId id="2147471620"/>
            <p14:sldId id="214747163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33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70F5204-07F3-CF35-7EF1-D8B1907CD4C8}" name="Prabhakaran, Praveen (CCI-Atlanta)" initials="P(" userId="S::praveen.prabhakaran@cox.com::7d888ac5-300c-4679-82d5-157e6386ea4a" providerId="AD"/>
  <p188:author id="{425ED765-A803-93D7-D883-DB2AC28F4656}" name="Patel, Adarsh (CCI-Atlanta)" initials="AP" userId="S::Adarsh.Patel@cox.com::7af17255-eb35-4745-8cd0-1872a692d2c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teve Wishman" initials="SW" lastIdx="1" clrIdx="0">
    <p:extLst>
      <p:ext uri="{19B8F6BF-5375-455C-9EA6-DF929625EA0E}">
        <p15:presenceInfo xmlns:p15="http://schemas.microsoft.com/office/powerpoint/2012/main" userId="Steve Wishman" providerId="None"/>
      </p:ext>
    </p:extLst>
  </p:cmAuthor>
  <p:cmAuthor id="2" name="Fakhraee, Farrah (CCI-Atlanta)" initials="F(" lastIdx="25" clrIdx="1">
    <p:extLst>
      <p:ext uri="{19B8F6BF-5375-455C-9EA6-DF929625EA0E}">
        <p15:presenceInfo xmlns:p15="http://schemas.microsoft.com/office/powerpoint/2012/main" userId="S::farrah.fakhraee@cox.com::be1abb38-cabf-4804-aa7b-b791bed419d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181"/>
    <a:srgbClr val="009AE0"/>
    <a:srgbClr val="FFFFFF"/>
    <a:srgbClr val="FAFAFA"/>
    <a:srgbClr val="00A846"/>
    <a:srgbClr val="3DC353"/>
    <a:srgbClr val="FFCC99"/>
    <a:srgbClr val="FEB4A0"/>
    <a:srgbClr val="B6E8BE"/>
    <a:srgbClr val="9191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40" autoAdjust="0"/>
    <p:restoredTop sz="94638"/>
  </p:normalViewPr>
  <p:slideViewPr>
    <p:cSldViewPr snapToGrid="0">
      <p:cViewPr varScale="1">
        <p:scale>
          <a:sx n="83" d="100"/>
          <a:sy n="83" d="100"/>
        </p:scale>
        <p:origin x="638" y="67"/>
      </p:cViewPr>
      <p:guideLst>
        <p:guide orient="horz" pos="2160"/>
        <p:guide pos="3840"/>
        <p:guide pos="33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commentAuthors" Target="commentAuthors.xml"/><Relationship Id="rId28" Type="http://schemas.microsoft.com/office/2018/10/relationships/authors" Target="author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72A4568-490B-4773-9325-6DC0D573623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21C877-104C-41FE-B0CC-8E34495890B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r">
              <a:defRPr sz="1200"/>
            </a:lvl1pPr>
          </a:lstStyle>
          <a:p>
            <a:fld id="{133A4081-A38B-4F77-8ADC-D0C91E8E4423}" type="datetimeFigureOut">
              <a:rPr lang="en-US" smtClean="0"/>
              <a:t>11/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261166-372A-4474-A2EF-C771746BF9C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 anchor="b"/>
          <a:lstStyle>
            <a:lvl1pPr algn="l"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3515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r">
              <a:defRPr sz="1200"/>
            </a:lvl1pPr>
          </a:lstStyle>
          <a:p>
            <a:fld id="{D7FD4F0E-FBD7-0044-978C-3C81CA637440}" type="datetimeFigureOut">
              <a:rPr lang="en-US" smtClean="0"/>
              <a:t>11/1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5963" y="1162050"/>
            <a:ext cx="5578475" cy="31384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6" tIns="46588" rIns="93176" bIns="4658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6" tIns="46588" rIns="93176" bIns="4658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 anchor="b"/>
          <a:lstStyle>
            <a:lvl1pPr algn="r">
              <a:defRPr sz="1200"/>
            </a:lvl1pPr>
          </a:lstStyle>
          <a:p>
            <a:fld id="{09AA5F6D-AE36-2045-8FBC-CC75880C59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15126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AA5F6D-AE36-2045-8FBC-CC75880C593C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80904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AA5F6D-AE36-2045-8FBC-CC75880C593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92510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AA5F6D-AE36-2045-8FBC-CC75880C593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56582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AA5F6D-AE36-2045-8FBC-CC75880C593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92510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AA5F6D-AE36-2045-8FBC-CC75880C593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15717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AA5F6D-AE36-2045-8FBC-CC75880C593C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2572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AA5F6D-AE36-2045-8FBC-CC75880C593C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33674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AA5F6D-AE36-2045-8FBC-CC75880C593C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92510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for Printing)">
    <p:bg bwMode="ltGray">
      <p:bgPr>
        <a:gradFill>
          <a:gsLst>
            <a:gs pos="32000">
              <a:srgbClr val="009AE0"/>
            </a:gs>
            <a:gs pos="52000">
              <a:srgbClr val="009AE0"/>
            </a:gs>
            <a:gs pos="100000">
              <a:srgbClr val="00A846"/>
            </a:gs>
          </a:gsLst>
          <a:lin ang="3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">
            <a:extLst>
              <a:ext uri="{FF2B5EF4-FFF2-40B4-BE49-F238E27FC236}">
                <a16:creationId xmlns:a16="http://schemas.microsoft.com/office/drawing/2014/main" id="{FA2A827F-14B0-49A7-8921-55A1ADD9E971}"/>
              </a:ext>
            </a:extLst>
          </p:cNvPr>
          <p:cNvSpPr>
            <a:spLocks/>
          </p:cNvSpPr>
          <p:nvPr userDrawn="1"/>
        </p:nvSpPr>
        <p:spPr bwMode="white">
          <a:xfrm>
            <a:off x="0" y="0"/>
            <a:ext cx="10037026" cy="6858000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27A0918-3038-4703-8101-983BBA6C44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2324262"/>
            <a:ext cx="8315325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EB08D9C-3176-4C96-B2D3-820B5BA082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38" y="4554950"/>
            <a:ext cx="5518225" cy="78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chemeClr val="accent1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706FDC6-3AEF-4F15-8624-DF19A27FD1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387222" y="462622"/>
            <a:ext cx="1312590" cy="439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9238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Copy (Thre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6C341B-649D-4364-8D26-ECF442AABF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93776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3405A70D-A303-4430-BFE3-179FEFFA329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08764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6A4C870-5FB0-40F9-ACBF-B314B714AE1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123752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32621-08D8-4143-94A1-96F611F4E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9AF46D-EC8C-4799-8268-F914B66AC1F5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B314EC2-65A0-48A9-A282-73C1FA228D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Weighte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34EAD72-0448-4B6F-86F3-D9B838B95CE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93711" y="1756791"/>
            <a:ext cx="3229589" cy="443204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32621-08D8-4143-94A1-96F611F4E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7" y="642889"/>
            <a:ext cx="320815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EFA500-6C5D-4551-968A-183AAA0CDC6F}"/>
              </a:ext>
            </a:extLst>
          </p:cNvPr>
          <p:cNvCxnSpPr>
            <a:cxnSpLocks/>
          </p:cNvCxnSpPr>
          <p:nvPr userDrawn="1"/>
        </p:nvCxnSpPr>
        <p:spPr>
          <a:xfrm>
            <a:off x="4308764" y="669163"/>
            <a:ext cx="0" cy="5155563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105E3F98-F8EB-4010-96E1-2DC856BD43CB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029200" y="1322388"/>
            <a:ext cx="6669088" cy="45021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6A4781-F335-4997-B2A3-D4ECEB624912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9F99AE6-DDD6-49D1-8CA7-3B040BD0F32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  <p:extLst>
      <p:ext uri="{BB962C8B-B14F-4D97-AF65-F5344CB8AC3E}">
        <p14:creationId xmlns:p14="http://schemas.microsoft.com/office/powerpoint/2010/main" val="1454335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(Single Layou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38D749E-10F3-468F-A695-20684D44BAB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ltGray">
          <a:xfrm>
            <a:off x="1" y="0"/>
            <a:ext cx="10037025" cy="6858000"/>
          </a:xfrm>
          <a:custGeom>
            <a:avLst/>
            <a:gdLst>
              <a:gd name="connsiteX0" fmla="*/ 0 w 10037025"/>
              <a:gd name="connsiteY0" fmla="*/ 0 h 6858000"/>
              <a:gd name="connsiteX1" fmla="*/ 2237 w 10037025"/>
              <a:gd name="connsiteY1" fmla="*/ 0 h 6858000"/>
              <a:gd name="connsiteX2" fmla="*/ 17892 w 10037025"/>
              <a:gd name="connsiteY2" fmla="*/ 0 h 6858000"/>
              <a:gd name="connsiteX3" fmla="*/ 60384 w 10037025"/>
              <a:gd name="connsiteY3" fmla="*/ 0 h 6858000"/>
              <a:gd name="connsiteX4" fmla="*/ 95887 w 10037025"/>
              <a:gd name="connsiteY4" fmla="*/ 0 h 6858000"/>
              <a:gd name="connsiteX5" fmla="*/ 143131 w 10037025"/>
              <a:gd name="connsiteY5" fmla="*/ 0 h 6858000"/>
              <a:gd name="connsiteX6" fmla="*/ 203794 w 10037025"/>
              <a:gd name="connsiteY6" fmla="*/ 0 h 6858000"/>
              <a:gd name="connsiteX7" fmla="*/ 279553 w 10037025"/>
              <a:gd name="connsiteY7" fmla="*/ 0 h 6858000"/>
              <a:gd name="connsiteX8" fmla="*/ 372085 w 10037025"/>
              <a:gd name="connsiteY8" fmla="*/ 0 h 6858000"/>
              <a:gd name="connsiteX9" fmla="*/ 483068 w 10037025"/>
              <a:gd name="connsiteY9" fmla="*/ 0 h 6858000"/>
              <a:gd name="connsiteX10" fmla="*/ 614178 w 10037025"/>
              <a:gd name="connsiteY10" fmla="*/ 0 h 6858000"/>
              <a:gd name="connsiteX11" fmla="*/ 767094 w 10037025"/>
              <a:gd name="connsiteY11" fmla="*/ 0 h 6858000"/>
              <a:gd name="connsiteX12" fmla="*/ 943492 w 10037025"/>
              <a:gd name="connsiteY12" fmla="*/ 0 h 6858000"/>
              <a:gd name="connsiteX13" fmla="*/ 1145050 w 10037025"/>
              <a:gd name="connsiteY13" fmla="*/ 0 h 6858000"/>
              <a:gd name="connsiteX14" fmla="*/ 1373445 w 10037025"/>
              <a:gd name="connsiteY14" fmla="*/ 0 h 6858000"/>
              <a:gd name="connsiteX15" fmla="*/ 1630354 w 10037025"/>
              <a:gd name="connsiteY15" fmla="*/ 0 h 6858000"/>
              <a:gd name="connsiteX16" fmla="*/ 1917455 w 10037025"/>
              <a:gd name="connsiteY16" fmla="*/ 0 h 6858000"/>
              <a:gd name="connsiteX17" fmla="*/ 2236425 w 10037025"/>
              <a:gd name="connsiteY17" fmla="*/ 0 h 6858000"/>
              <a:gd name="connsiteX18" fmla="*/ 2588941 w 10037025"/>
              <a:gd name="connsiteY18" fmla="*/ 0 h 6858000"/>
              <a:gd name="connsiteX19" fmla="*/ 2976682 w 10037025"/>
              <a:gd name="connsiteY19" fmla="*/ 0 h 6858000"/>
              <a:gd name="connsiteX20" fmla="*/ 3401323 w 10037025"/>
              <a:gd name="connsiteY20" fmla="*/ 0 h 6858000"/>
              <a:gd name="connsiteX21" fmla="*/ 3864542 w 10037025"/>
              <a:gd name="connsiteY21" fmla="*/ 0 h 6858000"/>
              <a:gd name="connsiteX22" fmla="*/ 4368018 w 10037025"/>
              <a:gd name="connsiteY22" fmla="*/ 0 h 6858000"/>
              <a:gd name="connsiteX23" fmla="*/ 4913426 w 10037025"/>
              <a:gd name="connsiteY23" fmla="*/ 0 h 6858000"/>
              <a:gd name="connsiteX24" fmla="*/ 5502444 w 10037025"/>
              <a:gd name="connsiteY24" fmla="*/ 0 h 6858000"/>
              <a:gd name="connsiteX25" fmla="*/ 6136750 w 10037025"/>
              <a:gd name="connsiteY25" fmla="*/ 0 h 6858000"/>
              <a:gd name="connsiteX26" fmla="*/ 6818021 w 10037025"/>
              <a:gd name="connsiteY26" fmla="*/ 0 h 6858000"/>
              <a:gd name="connsiteX27" fmla="*/ 7547934 w 10037025"/>
              <a:gd name="connsiteY27" fmla="*/ 0 h 6858000"/>
              <a:gd name="connsiteX28" fmla="*/ 8328167 w 10037025"/>
              <a:gd name="connsiteY28" fmla="*/ 0 h 6858000"/>
              <a:gd name="connsiteX29" fmla="*/ 8737677 w 10037025"/>
              <a:gd name="connsiteY29" fmla="*/ 0 h 6858000"/>
              <a:gd name="connsiteX30" fmla="*/ 9160396 w 10037025"/>
              <a:gd name="connsiteY30" fmla="*/ 0 h 6858000"/>
              <a:gd name="connsiteX31" fmla="*/ 10037025 w 10037025"/>
              <a:gd name="connsiteY31" fmla="*/ 3429000 h 6858000"/>
              <a:gd name="connsiteX32" fmla="*/ 9160396 w 10037025"/>
              <a:gd name="connsiteY32" fmla="*/ 6858000 h 6858000"/>
              <a:gd name="connsiteX33" fmla="*/ 9158160 w 10037025"/>
              <a:gd name="connsiteY33" fmla="*/ 6858000 h 6858000"/>
              <a:gd name="connsiteX34" fmla="*/ 9142505 w 10037025"/>
              <a:gd name="connsiteY34" fmla="*/ 6858000 h 6858000"/>
              <a:gd name="connsiteX35" fmla="*/ 9100012 w 10037025"/>
              <a:gd name="connsiteY35" fmla="*/ 6858000 h 6858000"/>
              <a:gd name="connsiteX36" fmla="*/ 9064509 w 10037025"/>
              <a:gd name="connsiteY36" fmla="*/ 6858000 h 6858000"/>
              <a:gd name="connsiteX37" fmla="*/ 9017265 w 10037025"/>
              <a:gd name="connsiteY37" fmla="*/ 6858000 h 6858000"/>
              <a:gd name="connsiteX38" fmla="*/ 8956602 w 10037025"/>
              <a:gd name="connsiteY38" fmla="*/ 6858000 h 6858000"/>
              <a:gd name="connsiteX39" fmla="*/ 8880843 w 10037025"/>
              <a:gd name="connsiteY39" fmla="*/ 6858000 h 6858000"/>
              <a:gd name="connsiteX40" fmla="*/ 8788311 w 10037025"/>
              <a:gd name="connsiteY40" fmla="*/ 6858000 h 6858000"/>
              <a:gd name="connsiteX41" fmla="*/ 8677328 w 10037025"/>
              <a:gd name="connsiteY41" fmla="*/ 6858000 h 6858000"/>
              <a:gd name="connsiteX42" fmla="*/ 8546218 w 10037025"/>
              <a:gd name="connsiteY42" fmla="*/ 6858000 h 6858000"/>
              <a:gd name="connsiteX43" fmla="*/ 8393302 w 10037025"/>
              <a:gd name="connsiteY43" fmla="*/ 6858000 h 6858000"/>
              <a:gd name="connsiteX44" fmla="*/ 8216905 w 10037025"/>
              <a:gd name="connsiteY44" fmla="*/ 6858000 h 6858000"/>
              <a:gd name="connsiteX45" fmla="*/ 8015347 w 10037025"/>
              <a:gd name="connsiteY45" fmla="*/ 6858000 h 6858000"/>
              <a:gd name="connsiteX46" fmla="*/ 7786952 w 10037025"/>
              <a:gd name="connsiteY46" fmla="*/ 6858000 h 6858000"/>
              <a:gd name="connsiteX47" fmla="*/ 7530043 w 10037025"/>
              <a:gd name="connsiteY47" fmla="*/ 6858000 h 6858000"/>
              <a:gd name="connsiteX48" fmla="*/ 7242942 w 10037025"/>
              <a:gd name="connsiteY48" fmla="*/ 6858000 h 6858000"/>
              <a:gd name="connsiteX49" fmla="*/ 6923972 w 10037025"/>
              <a:gd name="connsiteY49" fmla="*/ 6858000 h 6858000"/>
              <a:gd name="connsiteX50" fmla="*/ 6571455 w 10037025"/>
              <a:gd name="connsiteY50" fmla="*/ 6858000 h 6858000"/>
              <a:gd name="connsiteX51" fmla="*/ 6183715 w 10037025"/>
              <a:gd name="connsiteY51" fmla="*/ 6858000 h 6858000"/>
              <a:gd name="connsiteX52" fmla="*/ 5759074 w 10037025"/>
              <a:gd name="connsiteY52" fmla="*/ 6858000 h 6858000"/>
              <a:gd name="connsiteX53" fmla="*/ 5295854 w 10037025"/>
              <a:gd name="connsiteY53" fmla="*/ 6858000 h 6858000"/>
              <a:gd name="connsiteX54" fmla="*/ 4792379 w 10037025"/>
              <a:gd name="connsiteY54" fmla="*/ 6858000 h 6858000"/>
              <a:gd name="connsiteX55" fmla="*/ 4246971 w 10037025"/>
              <a:gd name="connsiteY55" fmla="*/ 6858000 h 6858000"/>
              <a:gd name="connsiteX56" fmla="*/ 3657953 w 10037025"/>
              <a:gd name="connsiteY56" fmla="*/ 6858000 h 6858000"/>
              <a:gd name="connsiteX57" fmla="*/ 3023647 w 10037025"/>
              <a:gd name="connsiteY57" fmla="*/ 6858000 h 6858000"/>
              <a:gd name="connsiteX58" fmla="*/ 2342376 w 10037025"/>
              <a:gd name="connsiteY58" fmla="*/ 6858000 h 6858000"/>
              <a:gd name="connsiteX59" fmla="*/ 1612463 w 10037025"/>
              <a:gd name="connsiteY59" fmla="*/ 6858000 h 6858000"/>
              <a:gd name="connsiteX60" fmla="*/ 832230 w 10037025"/>
              <a:gd name="connsiteY60" fmla="*/ 6858000 h 6858000"/>
              <a:gd name="connsiteX61" fmla="*/ 422719 w 10037025"/>
              <a:gd name="connsiteY61" fmla="*/ 6858000 h 6858000"/>
              <a:gd name="connsiteX62" fmla="*/ 0 w 10037025"/>
              <a:gd name="connsiteY6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10037025" h="6858000">
                <a:moveTo>
                  <a:pt x="0" y="0"/>
                </a:moveTo>
                <a:lnTo>
                  <a:pt x="2237" y="0"/>
                </a:lnTo>
                <a:lnTo>
                  <a:pt x="17892" y="0"/>
                </a:lnTo>
                <a:lnTo>
                  <a:pt x="60384" y="0"/>
                </a:lnTo>
                <a:lnTo>
                  <a:pt x="95887" y="0"/>
                </a:lnTo>
                <a:lnTo>
                  <a:pt x="143131" y="0"/>
                </a:lnTo>
                <a:lnTo>
                  <a:pt x="203794" y="0"/>
                </a:lnTo>
                <a:lnTo>
                  <a:pt x="279553" y="0"/>
                </a:lnTo>
                <a:lnTo>
                  <a:pt x="372085" y="0"/>
                </a:lnTo>
                <a:lnTo>
                  <a:pt x="483068" y="0"/>
                </a:lnTo>
                <a:lnTo>
                  <a:pt x="614178" y="0"/>
                </a:lnTo>
                <a:lnTo>
                  <a:pt x="767094" y="0"/>
                </a:lnTo>
                <a:lnTo>
                  <a:pt x="943492" y="0"/>
                </a:lnTo>
                <a:lnTo>
                  <a:pt x="1145050" y="0"/>
                </a:lnTo>
                <a:lnTo>
                  <a:pt x="1373445" y="0"/>
                </a:lnTo>
                <a:lnTo>
                  <a:pt x="1630354" y="0"/>
                </a:lnTo>
                <a:lnTo>
                  <a:pt x="1917455" y="0"/>
                </a:lnTo>
                <a:lnTo>
                  <a:pt x="2236425" y="0"/>
                </a:lnTo>
                <a:lnTo>
                  <a:pt x="2588941" y="0"/>
                </a:lnTo>
                <a:lnTo>
                  <a:pt x="2976682" y="0"/>
                </a:lnTo>
                <a:lnTo>
                  <a:pt x="3401323" y="0"/>
                </a:lnTo>
                <a:lnTo>
                  <a:pt x="3864542" y="0"/>
                </a:lnTo>
                <a:lnTo>
                  <a:pt x="4368018" y="0"/>
                </a:lnTo>
                <a:lnTo>
                  <a:pt x="4913426" y="0"/>
                </a:lnTo>
                <a:lnTo>
                  <a:pt x="5502444" y="0"/>
                </a:lnTo>
                <a:lnTo>
                  <a:pt x="6136750" y="0"/>
                </a:lnTo>
                <a:lnTo>
                  <a:pt x="6818021" y="0"/>
                </a:lnTo>
                <a:lnTo>
                  <a:pt x="7547934" y="0"/>
                </a:lnTo>
                <a:lnTo>
                  <a:pt x="8328167" y="0"/>
                </a:lnTo>
                <a:lnTo>
                  <a:pt x="8737677" y="0"/>
                </a:lnTo>
                <a:lnTo>
                  <a:pt x="9160396" y="0"/>
                </a:lnTo>
                <a:cubicBezTo>
                  <a:pt x="9719106" y="1018571"/>
                  <a:pt x="10037025" y="2187207"/>
                  <a:pt x="10037025" y="3429000"/>
                </a:cubicBezTo>
                <a:cubicBezTo>
                  <a:pt x="10037025" y="4671731"/>
                  <a:pt x="9719106" y="5839430"/>
                  <a:pt x="9160396" y="6858000"/>
                </a:cubicBezTo>
                <a:lnTo>
                  <a:pt x="9158160" y="6858000"/>
                </a:lnTo>
                <a:lnTo>
                  <a:pt x="9142505" y="6858000"/>
                </a:lnTo>
                <a:lnTo>
                  <a:pt x="9100012" y="6858000"/>
                </a:lnTo>
                <a:lnTo>
                  <a:pt x="9064509" y="6858000"/>
                </a:lnTo>
                <a:lnTo>
                  <a:pt x="9017265" y="6858000"/>
                </a:lnTo>
                <a:lnTo>
                  <a:pt x="8956602" y="6858000"/>
                </a:lnTo>
                <a:lnTo>
                  <a:pt x="8880843" y="6858000"/>
                </a:lnTo>
                <a:lnTo>
                  <a:pt x="8788311" y="6858000"/>
                </a:lnTo>
                <a:lnTo>
                  <a:pt x="8677328" y="6858000"/>
                </a:lnTo>
                <a:lnTo>
                  <a:pt x="8546218" y="6858000"/>
                </a:lnTo>
                <a:lnTo>
                  <a:pt x="8393302" y="6858000"/>
                </a:lnTo>
                <a:lnTo>
                  <a:pt x="8216905" y="6858000"/>
                </a:lnTo>
                <a:lnTo>
                  <a:pt x="8015347" y="6858000"/>
                </a:lnTo>
                <a:lnTo>
                  <a:pt x="7786952" y="6858000"/>
                </a:lnTo>
                <a:lnTo>
                  <a:pt x="7530043" y="6858000"/>
                </a:lnTo>
                <a:lnTo>
                  <a:pt x="7242942" y="6858000"/>
                </a:lnTo>
                <a:lnTo>
                  <a:pt x="6923972" y="6858000"/>
                </a:lnTo>
                <a:lnTo>
                  <a:pt x="6571455" y="6858000"/>
                </a:lnTo>
                <a:lnTo>
                  <a:pt x="6183715" y="6858000"/>
                </a:lnTo>
                <a:lnTo>
                  <a:pt x="5759074" y="6858000"/>
                </a:lnTo>
                <a:lnTo>
                  <a:pt x="5295854" y="6858000"/>
                </a:lnTo>
                <a:lnTo>
                  <a:pt x="4792379" y="6858000"/>
                </a:lnTo>
                <a:lnTo>
                  <a:pt x="4246971" y="6858000"/>
                </a:lnTo>
                <a:lnTo>
                  <a:pt x="3657953" y="6858000"/>
                </a:lnTo>
                <a:lnTo>
                  <a:pt x="3023647" y="6858000"/>
                </a:lnTo>
                <a:lnTo>
                  <a:pt x="2342376" y="6858000"/>
                </a:lnTo>
                <a:lnTo>
                  <a:pt x="1612463" y="6858000"/>
                </a:lnTo>
                <a:lnTo>
                  <a:pt x="832230" y="6858000"/>
                </a:lnTo>
                <a:lnTo>
                  <a:pt x="42271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C370884F-6311-49C2-8806-A75B8B32042D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10029017" cy="6852528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ln>
            <a:noFill/>
          </a:ln>
        </p:spPr>
        <p:txBody>
          <a:bodyPr vert="horz" lIns="0" tIns="0" rIns="0" bIns="0" rtlCol="0">
            <a:noAutofit/>
          </a:bodyPr>
          <a:lstStyle/>
          <a:p>
            <a:pPr lvl="0" indent="0" eaLnBrk="0" fontAlgn="base" hangingPunct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​"/>
            </a:pPr>
            <a:endParaRPr lang="en-US" sz="2000" b="0">
              <a:solidFill>
                <a:schemeClr val="tx1">
                  <a:lumMod val="65000"/>
                  <a:lumOff val="3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  <a:sym typeface="Proxima Nova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8629D78-F573-4D41-A217-4A90EC9145D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91781" y="6087872"/>
            <a:ext cx="1308671" cy="438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8001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(Single Lef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29A41F1-58BA-49CE-9836-9967CA8735F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1" y="0"/>
            <a:ext cx="6095999" cy="6858000"/>
          </a:xfrm>
          <a:custGeom>
            <a:avLst/>
            <a:gdLst>
              <a:gd name="connsiteX0" fmla="*/ 0 w 6095999"/>
              <a:gd name="connsiteY0" fmla="*/ 0 h 6858000"/>
              <a:gd name="connsiteX1" fmla="*/ 2237 w 6095999"/>
              <a:gd name="connsiteY1" fmla="*/ 0 h 6858000"/>
              <a:gd name="connsiteX2" fmla="*/ 17892 w 6095999"/>
              <a:gd name="connsiteY2" fmla="*/ 0 h 6858000"/>
              <a:gd name="connsiteX3" fmla="*/ 60384 w 6095999"/>
              <a:gd name="connsiteY3" fmla="*/ 0 h 6858000"/>
              <a:gd name="connsiteX4" fmla="*/ 95887 w 6095999"/>
              <a:gd name="connsiteY4" fmla="*/ 0 h 6858000"/>
              <a:gd name="connsiteX5" fmla="*/ 143131 w 6095999"/>
              <a:gd name="connsiteY5" fmla="*/ 0 h 6858000"/>
              <a:gd name="connsiteX6" fmla="*/ 203794 w 6095999"/>
              <a:gd name="connsiteY6" fmla="*/ 0 h 6858000"/>
              <a:gd name="connsiteX7" fmla="*/ 279553 w 6095999"/>
              <a:gd name="connsiteY7" fmla="*/ 0 h 6858000"/>
              <a:gd name="connsiteX8" fmla="*/ 372085 w 6095999"/>
              <a:gd name="connsiteY8" fmla="*/ 0 h 6858000"/>
              <a:gd name="connsiteX9" fmla="*/ 426992 w 6095999"/>
              <a:gd name="connsiteY9" fmla="*/ 0 h 6858000"/>
              <a:gd name="connsiteX10" fmla="*/ 483068 w 6095999"/>
              <a:gd name="connsiteY10" fmla="*/ 0 h 6858000"/>
              <a:gd name="connsiteX11" fmla="*/ 614178 w 6095999"/>
              <a:gd name="connsiteY11" fmla="*/ 0 h 6858000"/>
              <a:gd name="connsiteX12" fmla="*/ 767094 w 6095999"/>
              <a:gd name="connsiteY12" fmla="*/ 0 h 6858000"/>
              <a:gd name="connsiteX13" fmla="*/ 943492 w 6095999"/>
              <a:gd name="connsiteY13" fmla="*/ 0 h 6858000"/>
              <a:gd name="connsiteX14" fmla="*/ 972400 w 6095999"/>
              <a:gd name="connsiteY14" fmla="*/ 0 h 6858000"/>
              <a:gd name="connsiteX15" fmla="*/ 1145050 w 6095999"/>
              <a:gd name="connsiteY15" fmla="*/ 0 h 6858000"/>
              <a:gd name="connsiteX16" fmla="*/ 1373445 w 6095999"/>
              <a:gd name="connsiteY16" fmla="*/ 0 h 6858000"/>
              <a:gd name="connsiteX17" fmla="*/ 1561418 w 6095999"/>
              <a:gd name="connsiteY17" fmla="*/ 0 h 6858000"/>
              <a:gd name="connsiteX18" fmla="*/ 1630354 w 6095999"/>
              <a:gd name="connsiteY18" fmla="*/ 0 h 6858000"/>
              <a:gd name="connsiteX19" fmla="*/ 1917455 w 6095999"/>
              <a:gd name="connsiteY19" fmla="*/ 0 h 6858000"/>
              <a:gd name="connsiteX20" fmla="*/ 2195724 w 6095999"/>
              <a:gd name="connsiteY20" fmla="*/ 0 h 6858000"/>
              <a:gd name="connsiteX21" fmla="*/ 2236425 w 6095999"/>
              <a:gd name="connsiteY21" fmla="*/ 0 h 6858000"/>
              <a:gd name="connsiteX22" fmla="*/ 2588941 w 6095999"/>
              <a:gd name="connsiteY22" fmla="*/ 0 h 6858000"/>
              <a:gd name="connsiteX23" fmla="*/ 2876995 w 6095999"/>
              <a:gd name="connsiteY23" fmla="*/ 0 h 6858000"/>
              <a:gd name="connsiteX24" fmla="*/ 2976682 w 6095999"/>
              <a:gd name="connsiteY24" fmla="*/ 0 h 6858000"/>
              <a:gd name="connsiteX25" fmla="*/ 3401323 w 6095999"/>
              <a:gd name="connsiteY25" fmla="*/ 0 h 6858000"/>
              <a:gd name="connsiteX26" fmla="*/ 3606908 w 6095999"/>
              <a:gd name="connsiteY26" fmla="*/ 0 h 6858000"/>
              <a:gd name="connsiteX27" fmla="*/ 3864542 w 6095999"/>
              <a:gd name="connsiteY27" fmla="*/ 0 h 6858000"/>
              <a:gd name="connsiteX28" fmla="*/ 4368018 w 6095999"/>
              <a:gd name="connsiteY28" fmla="*/ 0 h 6858000"/>
              <a:gd name="connsiteX29" fmla="*/ 4387141 w 6095999"/>
              <a:gd name="connsiteY29" fmla="*/ 0 h 6858000"/>
              <a:gd name="connsiteX30" fmla="*/ 4796651 w 6095999"/>
              <a:gd name="connsiteY30" fmla="*/ 0 h 6858000"/>
              <a:gd name="connsiteX31" fmla="*/ 4913426 w 6095999"/>
              <a:gd name="connsiteY31" fmla="*/ 0 h 6858000"/>
              <a:gd name="connsiteX32" fmla="*/ 5219370 w 6095999"/>
              <a:gd name="connsiteY32" fmla="*/ 0 h 6858000"/>
              <a:gd name="connsiteX33" fmla="*/ 6095999 w 6095999"/>
              <a:gd name="connsiteY33" fmla="*/ 3429000 h 6858000"/>
              <a:gd name="connsiteX34" fmla="*/ 5219370 w 6095999"/>
              <a:gd name="connsiteY34" fmla="*/ 6858000 h 6858000"/>
              <a:gd name="connsiteX35" fmla="*/ 5217134 w 6095999"/>
              <a:gd name="connsiteY35" fmla="*/ 6858000 h 6858000"/>
              <a:gd name="connsiteX36" fmla="*/ 5201479 w 6095999"/>
              <a:gd name="connsiteY36" fmla="*/ 6858000 h 6858000"/>
              <a:gd name="connsiteX37" fmla="*/ 5158986 w 6095999"/>
              <a:gd name="connsiteY37" fmla="*/ 6858000 h 6858000"/>
              <a:gd name="connsiteX38" fmla="*/ 5123483 w 6095999"/>
              <a:gd name="connsiteY38" fmla="*/ 6858000 h 6858000"/>
              <a:gd name="connsiteX39" fmla="*/ 5076239 w 6095999"/>
              <a:gd name="connsiteY39" fmla="*/ 6858000 h 6858000"/>
              <a:gd name="connsiteX40" fmla="*/ 5015576 w 6095999"/>
              <a:gd name="connsiteY40" fmla="*/ 6858000 h 6858000"/>
              <a:gd name="connsiteX41" fmla="*/ 4939817 w 6095999"/>
              <a:gd name="connsiteY41" fmla="*/ 6858000 h 6858000"/>
              <a:gd name="connsiteX42" fmla="*/ 4847285 w 6095999"/>
              <a:gd name="connsiteY42" fmla="*/ 6858000 h 6858000"/>
              <a:gd name="connsiteX43" fmla="*/ 4792379 w 6095999"/>
              <a:gd name="connsiteY43" fmla="*/ 6858000 h 6858000"/>
              <a:gd name="connsiteX44" fmla="*/ 4736302 w 6095999"/>
              <a:gd name="connsiteY44" fmla="*/ 6858000 h 6858000"/>
              <a:gd name="connsiteX45" fmla="*/ 4605192 w 6095999"/>
              <a:gd name="connsiteY45" fmla="*/ 6858000 h 6858000"/>
              <a:gd name="connsiteX46" fmla="*/ 4452276 w 6095999"/>
              <a:gd name="connsiteY46" fmla="*/ 6858000 h 6858000"/>
              <a:gd name="connsiteX47" fmla="*/ 4275879 w 6095999"/>
              <a:gd name="connsiteY47" fmla="*/ 6858000 h 6858000"/>
              <a:gd name="connsiteX48" fmla="*/ 4246971 w 6095999"/>
              <a:gd name="connsiteY48" fmla="*/ 6858000 h 6858000"/>
              <a:gd name="connsiteX49" fmla="*/ 4074321 w 6095999"/>
              <a:gd name="connsiteY49" fmla="*/ 6858000 h 6858000"/>
              <a:gd name="connsiteX50" fmla="*/ 3845926 w 6095999"/>
              <a:gd name="connsiteY50" fmla="*/ 6858000 h 6858000"/>
              <a:gd name="connsiteX51" fmla="*/ 3657953 w 6095999"/>
              <a:gd name="connsiteY51" fmla="*/ 6858000 h 6858000"/>
              <a:gd name="connsiteX52" fmla="*/ 3589017 w 6095999"/>
              <a:gd name="connsiteY52" fmla="*/ 6858000 h 6858000"/>
              <a:gd name="connsiteX53" fmla="*/ 3301916 w 6095999"/>
              <a:gd name="connsiteY53" fmla="*/ 6858000 h 6858000"/>
              <a:gd name="connsiteX54" fmla="*/ 3023647 w 6095999"/>
              <a:gd name="connsiteY54" fmla="*/ 6858000 h 6858000"/>
              <a:gd name="connsiteX55" fmla="*/ 2982946 w 6095999"/>
              <a:gd name="connsiteY55" fmla="*/ 6858000 h 6858000"/>
              <a:gd name="connsiteX56" fmla="*/ 2630429 w 6095999"/>
              <a:gd name="connsiteY56" fmla="*/ 6858000 h 6858000"/>
              <a:gd name="connsiteX57" fmla="*/ 2342376 w 6095999"/>
              <a:gd name="connsiteY57" fmla="*/ 6858000 h 6858000"/>
              <a:gd name="connsiteX58" fmla="*/ 2242689 w 6095999"/>
              <a:gd name="connsiteY58" fmla="*/ 6858000 h 6858000"/>
              <a:gd name="connsiteX59" fmla="*/ 1818048 w 6095999"/>
              <a:gd name="connsiteY59" fmla="*/ 6858000 h 6858000"/>
              <a:gd name="connsiteX60" fmla="*/ 1612463 w 6095999"/>
              <a:gd name="connsiteY60" fmla="*/ 6858000 h 6858000"/>
              <a:gd name="connsiteX61" fmla="*/ 1354828 w 6095999"/>
              <a:gd name="connsiteY61" fmla="*/ 6858000 h 6858000"/>
              <a:gd name="connsiteX62" fmla="*/ 851353 w 6095999"/>
              <a:gd name="connsiteY62" fmla="*/ 6858000 h 6858000"/>
              <a:gd name="connsiteX63" fmla="*/ 832230 w 6095999"/>
              <a:gd name="connsiteY63" fmla="*/ 6858000 h 6858000"/>
              <a:gd name="connsiteX64" fmla="*/ 422719 w 6095999"/>
              <a:gd name="connsiteY64" fmla="*/ 6858000 h 6858000"/>
              <a:gd name="connsiteX65" fmla="*/ 305945 w 6095999"/>
              <a:gd name="connsiteY65" fmla="*/ 6858000 h 6858000"/>
              <a:gd name="connsiteX66" fmla="*/ 0 w 6095999"/>
              <a:gd name="connsiteY6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</a:cxnLst>
            <a:rect l="l" t="t" r="r" b="b"/>
            <a:pathLst>
              <a:path w="6095999" h="6858000">
                <a:moveTo>
                  <a:pt x="0" y="0"/>
                </a:moveTo>
                <a:lnTo>
                  <a:pt x="2237" y="0"/>
                </a:lnTo>
                <a:lnTo>
                  <a:pt x="17892" y="0"/>
                </a:lnTo>
                <a:lnTo>
                  <a:pt x="60384" y="0"/>
                </a:lnTo>
                <a:lnTo>
                  <a:pt x="95887" y="0"/>
                </a:lnTo>
                <a:lnTo>
                  <a:pt x="143131" y="0"/>
                </a:lnTo>
                <a:lnTo>
                  <a:pt x="203794" y="0"/>
                </a:lnTo>
                <a:lnTo>
                  <a:pt x="279553" y="0"/>
                </a:lnTo>
                <a:lnTo>
                  <a:pt x="372085" y="0"/>
                </a:lnTo>
                <a:lnTo>
                  <a:pt x="426992" y="0"/>
                </a:lnTo>
                <a:lnTo>
                  <a:pt x="483068" y="0"/>
                </a:lnTo>
                <a:lnTo>
                  <a:pt x="614178" y="0"/>
                </a:lnTo>
                <a:lnTo>
                  <a:pt x="767094" y="0"/>
                </a:lnTo>
                <a:lnTo>
                  <a:pt x="943492" y="0"/>
                </a:lnTo>
                <a:lnTo>
                  <a:pt x="972400" y="0"/>
                </a:lnTo>
                <a:lnTo>
                  <a:pt x="1145050" y="0"/>
                </a:lnTo>
                <a:lnTo>
                  <a:pt x="1373445" y="0"/>
                </a:lnTo>
                <a:lnTo>
                  <a:pt x="1561418" y="0"/>
                </a:lnTo>
                <a:lnTo>
                  <a:pt x="1630354" y="0"/>
                </a:lnTo>
                <a:lnTo>
                  <a:pt x="1917455" y="0"/>
                </a:lnTo>
                <a:lnTo>
                  <a:pt x="2195724" y="0"/>
                </a:lnTo>
                <a:lnTo>
                  <a:pt x="2236425" y="0"/>
                </a:lnTo>
                <a:lnTo>
                  <a:pt x="2588941" y="0"/>
                </a:lnTo>
                <a:lnTo>
                  <a:pt x="2876995" y="0"/>
                </a:lnTo>
                <a:lnTo>
                  <a:pt x="2976682" y="0"/>
                </a:lnTo>
                <a:lnTo>
                  <a:pt x="3401323" y="0"/>
                </a:lnTo>
                <a:lnTo>
                  <a:pt x="3606908" y="0"/>
                </a:lnTo>
                <a:lnTo>
                  <a:pt x="3864542" y="0"/>
                </a:lnTo>
                <a:lnTo>
                  <a:pt x="4368018" y="0"/>
                </a:lnTo>
                <a:lnTo>
                  <a:pt x="4387141" y="0"/>
                </a:lnTo>
                <a:lnTo>
                  <a:pt x="4796651" y="0"/>
                </a:lnTo>
                <a:lnTo>
                  <a:pt x="4913426" y="0"/>
                </a:lnTo>
                <a:lnTo>
                  <a:pt x="5219370" y="0"/>
                </a:lnTo>
                <a:cubicBezTo>
                  <a:pt x="5778080" y="1018571"/>
                  <a:pt x="6095999" y="2187207"/>
                  <a:pt x="6095999" y="3429000"/>
                </a:cubicBezTo>
                <a:cubicBezTo>
                  <a:pt x="6095999" y="4671731"/>
                  <a:pt x="5778080" y="5839430"/>
                  <a:pt x="5219370" y="6858000"/>
                </a:cubicBezTo>
                <a:lnTo>
                  <a:pt x="5217134" y="6858000"/>
                </a:lnTo>
                <a:lnTo>
                  <a:pt x="5201479" y="6858000"/>
                </a:lnTo>
                <a:lnTo>
                  <a:pt x="5158986" y="6858000"/>
                </a:lnTo>
                <a:lnTo>
                  <a:pt x="5123483" y="6858000"/>
                </a:lnTo>
                <a:lnTo>
                  <a:pt x="5076239" y="6858000"/>
                </a:lnTo>
                <a:lnTo>
                  <a:pt x="5015576" y="6858000"/>
                </a:lnTo>
                <a:lnTo>
                  <a:pt x="4939817" y="6858000"/>
                </a:lnTo>
                <a:lnTo>
                  <a:pt x="4847285" y="6858000"/>
                </a:lnTo>
                <a:lnTo>
                  <a:pt x="4792379" y="6858000"/>
                </a:lnTo>
                <a:lnTo>
                  <a:pt x="4736302" y="6858000"/>
                </a:lnTo>
                <a:lnTo>
                  <a:pt x="4605192" y="6858000"/>
                </a:lnTo>
                <a:lnTo>
                  <a:pt x="4452276" y="6858000"/>
                </a:lnTo>
                <a:lnTo>
                  <a:pt x="4275879" y="6858000"/>
                </a:lnTo>
                <a:lnTo>
                  <a:pt x="4246971" y="6858000"/>
                </a:lnTo>
                <a:lnTo>
                  <a:pt x="4074321" y="6858000"/>
                </a:lnTo>
                <a:lnTo>
                  <a:pt x="3845926" y="6858000"/>
                </a:lnTo>
                <a:lnTo>
                  <a:pt x="3657953" y="6858000"/>
                </a:lnTo>
                <a:lnTo>
                  <a:pt x="3589017" y="6858000"/>
                </a:lnTo>
                <a:lnTo>
                  <a:pt x="3301916" y="6858000"/>
                </a:lnTo>
                <a:lnTo>
                  <a:pt x="3023647" y="6858000"/>
                </a:lnTo>
                <a:lnTo>
                  <a:pt x="2982946" y="6858000"/>
                </a:lnTo>
                <a:lnTo>
                  <a:pt x="2630429" y="6858000"/>
                </a:lnTo>
                <a:lnTo>
                  <a:pt x="2342376" y="6858000"/>
                </a:lnTo>
                <a:lnTo>
                  <a:pt x="2242689" y="6858000"/>
                </a:lnTo>
                <a:lnTo>
                  <a:pt x="1818048" y="6858000"/>
                </a:lnTo>
                <a:lnTo>
                  <a:pt x="1612463" y="6858000"/>
                </a:lnTo>
                <a:lnTo>
                  <a:pt x="1354828" y="6858000"/>
                </a:lnTo>
                <a:lnTo>
                  <a:pt x="851353" y="6858000"/>
                </a:lnTo>
                <a:lnTo>
                  <a:pt x="832230" y="6858000"/>
                </a:lnTo>
                <a:lnTo>
                  <a:pt x="422719" y="6858000"/>
                </a:lnTo>
                <a:lnTo>
                  <a:pt x="30594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147AB574-A04B-4C82-AD7B-EF95AA3005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31000" y="1321710"/>
            <a:ext cx="4967224" cy="485505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009DFF-4241-4740-ABFB-69F34CB90D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1000" y="167677"/>
            <a:ext cx="496722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</p:spTree>
    <p:extLst>
      <p:ext uri="{BB962C8B-B14F-4D97-AF65-F5344CB8AC3E}">
        <p14:creationId xmlns:p14="http://schemas.microsoft.com/office/powerpoint/2010/main" val="2658800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(Single Righ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147AB574-A04B-4C82-AD7B-EF95AA3005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776" y="1321710"/>
            <a:ext cx="4967224" cy="485505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009DFF-4241-4740-ABFB-69F34CB90D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496722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919739B-51A2-4ADE-AAB0-76FE3337933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ltGray">
          <a:xfrm>
            <a:off x="6096001" y="0"/>
            <a:ext cx="6096001" cy="6858000"/>
          </a:xfrm>
          <a:custGeom>
            <a:avLst/>
            <a:gdLst>
              <a:gd name="connsiteX0" fmla="*/ 876629 w 6096001"/>
              <a:gd name="connsiteY0" fmla="*/ 0 h 6858000"/>
              <a:gd name="connsiteX1" fmla="*/ 1299348 w 6096001"/>
              <a:gd name="connsiteY1" fmla="*/ 0 h 6858000"/>
              <a:gd name="connsiteX2" fmla="*/ 1708858 w 6096001"/>
              <a:gd name="connsiteY2" fmla="*/ 0 h 6858000"/>
              <a:gd name="connsiteX3" fmla="*/ 2489091 w 6096001"/>
              <a:gd name="connsiteY3" fmla="*/ 0 h 6858000"/>
              <a:gd name="connsiteX4" fmla="*/ 3219004 w 6096001"/>
              <a:gd name="connsiteY4" fmla="*/ 0 h 6858000"/>
              <a:gd name="connsiteX5" fmla="*/ 3900275 w 6096001"/>
              <a:gd name="connsiteY5" fmla="*/ 0 h 6858000"/>
              <a:gd name="connsiteX6" fmla="*/ 4534581 w 6096001"/>
              <a:gd name="connsiteY6" fmla="*/ 0 h 6858000"/>
              <a:gd name="connsiteX7" fmla="*/ 5123599 w 6096001"/>
              <a:gd name="connsiteY7" fmla="*/ 0 h 6858000"/>
              <a:gd name="connsiteX8" fmla="*/ 5669007 w 6096001"/>
              <a:gd name="connsiteY8" fmla="*/ 0 h 6858000"/>
              <a:gd name="connsiteX9" fmla="*/ 6096001 w 6096001"/>
              <a:gd name="connsiteY9" fmla="*/ 0 h 6858000"/>
              <a:gd name="connsiteX10" fmla="*/ 6096001 w 6096001"/>
              <a:gd name="connsiteY10" fmla="*/ 6858000 h 6858000"/>
              <a:gd name="connsiteX11" fmla="*/ 5790054 w 6096001"/>
              <a:gd name="connsiteY11" fmla="*/ 6858000 h 6858000"/>
              <a:gd name="connsiteX12" fmla="*/ 5244646 w 6096001"/>
              <a:gd name="connsiteY12" fmla="*/ 6858000 h 6858000"/>
              <a:gd name="connsiteX13" fmla="*/ 4741171 w 6096001"/>
              <a:gd name="connsiteY13" fmla="*/ 6858000 h 6858000"/>
              <a:gd name="connsiteX14" fmla="*/ 4277951 w 6096001"/>
              <a:gd name="connsiteY14" fmla="*/ 6858000 h 6858000"/>
              <a:gd name="connsiteX15" fmla="*/ 3853310 w 6096001"/>
              <a:gd name="connsiteY15" fmla="*/ 6858000 h 6858000"/>
              <a:gd name="connsiteX16" fmla="*/ 3465570 w 6096001"/>
              <a:gd name="connsiteY16" fmla="*/ 6858000 h 6858000"/>
              <a:gd name="connsiteX17" fmla="*/ 3113053 w 6096001"/>
              <a:gd name="connsiteY17" fmla="*/ 6858000 h 6858000"/>
              <a:gd name="connsiteX18" fmla="*/ 2794083 w 6096001"/>
              <a:gd name="connsiteY18" fmla="*/ 6858000 h 6858000"/>
              <a:gd name="connsiteX19" fmla="*/ 2506982 w 6096001"/>
              <a:gd name="connsiteY19" fmla="*/ 6858000 h 6858000"/>
              <a:gd name="connsiteX20" fmla="*/ 2250073 w 6096001"/>
              <a:gd name="connsiteY20" fmla="*/ 6858000 h 6858000"/>
              <a:gd name="connsiteX21" fmla="*/ 2021678 w 6096001"/>
              <a:gd name="connsiteY21" fmla="*/ 6858000 h 6858000"/>
              <a:gd name="connsiteX22" fmla="*/ 1820120 w 6096001"/>
              <a:gd name="connsiteY22" fmla="*/ 6858000 h 6858000"/>
              <a:gd name="connsiteX23" fmla="*/ 1643723 w 6096001"/>
              <a:gd name="connsiteY23" fmla="*/ 6858000 h 6858000"/>
              <a:gd name="connsiteX24" fmla="*/ 1490807 w 6096001"/>
              <a:gd name="connsiteY24" fmla="*/ 6858000 h 6858000"/>
              <a:gd name="connsiteX25" fmla="*/ 1359697 w 6096001"/>
              <a:gd name="connsiteY25" fmla="*/ 6858000 h 6858000"/>
              <a:gd name="connsiteX26" fmla="*/ 1248714 w 6096001"/>
              <a:gd name="connsiteY26" fmla="*/ 6858000 h 6858000"/>
              <a:gd name="connsiteX27" fmla="*/ 1156182 w 6096001"/>
              <a:gd name="connsiteY27" fmla="*/ 6858000 h 6858000"/>
              <a:gd name="connsiteX28" fmla="*/ 1080423 w 6096001"/>
              <a:gd name="connsiteY28" fmla="*/ 6858000 h 6858000"/>
              <a:gd name="connsiteX29" fmla="*/ 1019760 w 6096001"/>
              <a:gd name="connsiteY29" fmla="*/ 6858000 h 6858000"/>
              <a:gd name="connsiteX30" fmla="*/ 972516 w 6096001"/>
              <a:gd name="connsiteY30" fmla="*/ 6858000 h 6858000"/>
              <a:gd name="connsiteX31" fmla="*/ 937013 w 6096001"/>
              <a:gd name="connsiteY31" fmla="*/ 6858000 h 6858000"/>
              <a:gd name="connsiteX32" fmla="*/ 894520 w 6096001"/>
              <a:gd name="connsiteY32" fmla="*/ 6858000 h 6858000"/>
              <a:gd name="connsiteX33" fmla="*/ 878865 w 6096001"/>
              <a:gd name="connsiteY33" fmla="*/ 6858000 h 6858000"/>
              <a:gd name="connsiteX34" fmla="*/ 876629 w 6096001"/>
              <a:gd name="connsiteY34" fmla="*/ 6858000 h 6858000"/>
              <a:gd name="connsiteX35" fmla="*/ 0 w 6096001"/>
              <a:gd name="connsiteY35" fmla="*/ 3429000 h 6858000"/>
              <a:gd name="connsiteX36" fmla="*/ 876629 w 6096001"/>
              <a:gd name="connsiteY3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6096001" h="6858000">
                <a:moveTo>
                  <a:pt x="876629" y="0"/>
                </a:moveTo>
                <a:lnTo>
                  <a:pt x="1299348" y="0"/>
                </a:lnTo>
                <a:lnTo>
                  <a:pt x="1708858" y="0"/>
                </a:lnTo>
                <a:lnTo>
                  <a:pt x="2489091" y="0"/>
                </a:lnTo>
                <a:lnTo>
                  <a:pt x="3219004" y="0"/>
                </a:lnTo>
                <a:lnTo>
                  <a:pt x="3900275" y="0"/>
                </a:lnTo>
                <a:lnTo>
                  <a:pt x="4534581" y="0"/>
                </a:lnTo>
                <a:lnTo>
                  <a:pt x="5123599" y="0"/>
                </a:lnTo>
                <a:lnTo>
                  <a:pt x="5669007" y="0"/>
                </a:lnTo>
                <a:lnTo>
                  <a:pt x="6096001" y="0"/>
                </a:lnTo>
                <a:lnTo>
                  <a:pt x="6096001" y="6858000"/>
                </a:lnTo>
                <a:lnTo>
                  <a:pt x="5790054" y="6858000"/>
                </a:lnTo>
                <a:lnTo>
                  <a:pt x="5244646" y="6858000"/>
                </a:lnTo>
                <a:lnTo>
                  <a:pt x="4741171" y="6858000"/>
                </a:lnTo>
                <a:lnTo>
                  <a:pt x="4277951" y="6858000"/>
                </a:lnTo>
                <a:lnTo>
                  <a:pt x="3853310" y="6858000"/>
                </a:lnTo>
                <a:lnTo>
                  <a:pt x="3465570" y="6858000"/>
                </a:lnTo>
                <a:lnTo>
                  <a:pt x="3113053" y="6858000"/>
                </a:lnTo>
                <a:lnTo>
                  <a:pt x="2794083" y="6858000"/>
                </a:lnTo>
                <a:lnTo>
                  <a:pt x="2506982" y="6858000"/>
                </a:lnTo>
                <a:lnTo>
                  <a:pt x="2250073" y="6858000"/>
                </a:lnTo>
                <a:lnTo>
                  <a:pt x="2021678" y="6858000"/>
                </a:lnTo>
                <a:lnTo>
                  <a:pt x="1820120" y="6858000"/>
                </a:lnTo>
                <a:lnTo>
                  <a:pt x="1643723" y="6858000"/>
                </a:lnTo>
                <a:lnTo>
                  <a:pt x="1490807" y="6858000"/>
                </a:lnTo>
                <a:lnTo>
                  <a:pt x="1359697" y="6858000"/>
                </a:lnTo>
                <a:lnTo>
                  <a:pt x="1248714" y="6858000"/>
                </a:lnTo>
                <a:lnTo>
                  <a:pt x="1156182" y="6858000"/>
                </a:lnTo>
                <a:lnTo>
                  <a:pt x="1080423" y="6858000"/>
                </a:lnTo>
                <a:lnTo>
                  <a:pt x="1019760" y="6858000"/>
                </a:lnTo>
                <a:lnTo>
                  <a:pt x="972516" y="6858000"/>
                </a:lnTo>
                <a:lnTo>
                  <a:pt x="937013" y="6858000"/>
                </a:lnTo>
                <a:lnTo>
                  <a:pt x="894520" y="6858000"/>
                </a:lnTo>
                <a:lnTo>
                  <a:pt x="878865" y="6858000"/>
                </a:lnTo>
                <a:lnTo>
                  <a:pt x="876629" y="6858000"/>
                </a:lnTo>
                <a:cubicBezTo>
                  <a:pt x="317919" y="5839430"/>
                  <a:pt x="0" y="4671731"/>
                  <a:pt x="0" y="3429000"/>
                </a:cubicBezTo>
                <a:cubicBezTo>
                  <a:pt x="0" y="2187207"/>
                  <a:pt x="317919" y="1018571"/>
                  <a:pt x="876629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vert="horz" wrap="square" lIns="1005840" tIns="0" rIns="0" bIns="0" rtlCol="0">
            <a:noAutofit/>
          </a:bodyPr>
          <a:lstStyle>
            <a:lvl1pPr>
              <a:defRPr lang="en-US" dirty="0"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891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(Multi Layou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6F15D45E-1A29-46E9-B58E-872FED8D000F}"/>
              </a:ext>
            </a:extLst>
          </p:cNvPr>
          <p:cNvSpPr/>
          <p:nvPr userDrawn="1"/>
        </p:nvSpPr>
        <p:spPr bwMode="ltGray">
          <a:xfrm>
            <a:off x="742098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>
              <a:sym typeface="Proxima Nova Light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F681DC18-66F7-491B-8089-60DD8E1AB1AA}"/>
              </a:ext>
            </a:extLst>
          </p:cNvPr>
          <p:cNvSpPr/>
          <p:nvPr userDrawn="1"/>
        </p:nvSpPr>
        <p:spPr bwMode="ltGray">
          <a:xfrm>
            <a:off x="4555746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>
              <a:sym typeface="Proxima Nova Light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75A85B8-9A99-4F3C-933A-121390A9334B}"/>
              </a:ext>
            </a:extLst>
          </p:cNvPr>
          <p:cNvSpPr/>
          <p:nvPr userDrawn="1"/>
        </p:nvSpPr>
        <p:spPr bwMode="ltGray">
          <a:xfrm>
            <a:off x="8369394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>
              <a:sym typeface="Proxima Nova Light" charset="0"/>
            </a:endParaRPr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7CA44ADC-5231-43AF-906E-A8DDA719957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72652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ECE4A802-C7F3-4538-B1FB-98E6F612765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686300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39" name="Picture Placeholder 35">
            <a:extLst>
              <a:ext uri="{FF2B5EF4-FFF2-40B4-BE49-F238E27FC236}">
                <a16:creationId xmlns:a16="http://schemas.microsoft.com/office/drawing/2014/main" id="{5B525A51-4DF4-42AF-82A8-0F5A36D8AA4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499948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17BFF989-2765-4A09-8AE8-E2ACBBE59A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6736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1</a:t>
            </a:r>
          </a:p>
        </p:txBody>
      </p:sp>
      <p:sp>
        <p:nvSpPr>
          <p:cNvPr id="43" name="Text Placeholder 41">
            <a:extLst>
              <a:ext uri="{FF2B5EF4-FFF2-40B4-BE49-F238E27FC236}">
                <a16:creationId xmlns:a16="http://schemas.microsoft.com/office/drawing/2014/main" id="{91C01F98-B49B-4B32-B1BB-B41E8EA15A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2663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2</a:t>
            </a:r>
          </a:p>
        </p:txBody>
      </p:sp>
      <p:sp>
        <p:nvSpPr>
          <p:cNvPr id="44" name="Text Placeholder 41">
            <a:extLst>
              <a:ext uri="{FF2B5EF4-FFF2-40B4-BE49-F238E27FC236}">
                <a16:creationId xmlns:a16="http://schemas.microsoft.com/office/drawing/2014/main" id="{FC7C06E5-7271-4B89-AB80-DD09B51F8A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06310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3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F8D4E7B-DD8A-4462-A940-F3A1029BC4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E6D966-50E4-4144-82A3-60717BEFC28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E266DFD-040A-4C14-9640-CEEDD94BCA8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  <p:extLst>
      <p:ext uri="{BB962C8B-B14F-4D97-AF65-F5344CB8AC3E}">
        <p14:creationId xmlns:p14="http://schemas.microsoft.com/office/powerpoint/2010/main" val="2807985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with Body Copy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F289E38-44F5-4D8D-9EE0-619201D57247}"/>
              </a:ext>
            </a:extLst>
          </p:cNvPr>
          <p:cNvSpPr/>
          <p:nvPr userDrawn="1"/>
        </p:nvSpPr>
        <p:spPr bwMode="white">
          <a:xfrm>
            <a:off x="0" y="6249122"/>
            <a:ext cx="12192000" cy="6040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640C6A-CF77-4953-9AD6-63845305FE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6580124" cy="89797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5662183-DD4B-4458-ABD2-C710415E28ED}"/>
              </a:ext>
            </a:extLst>
          </p:cNvPr>
          <p:cNvSpPr/>
          <p:nvPr userDrawn="1"/>
        </p:nvSpPr>
        <p:spPr bwMode="ltGray">
          <a:xfrm>
            <a:off x="7244184" y="647700"/>
            <a:ext cx="7710066" cy="7710066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>
              <a:sym typeface="Proxima Nova Light" charset="0"/>
            </a:endParaRPr>
          </a:p>
        </p:txBody>
      </p:sp>
      <p:sp>
        <p:nvSpPr>
          <p:cNvPr id="9" name="Picture Placeholder 35">
            <a:extLst>
              <a:ext uri="{FF2B5EF4-FFF2-40B4-BE49-F238E27FC236}">
                <a16:creationId xmlns:a16="http://schemas.microsoft.com/office/drawing/2014/main" id="{B6EFA928-550A-425C-9E54-627E2710A12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73517" y="1375262"/>
            <a:ext cx="6251400" cy="6254942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AA5E399-4DEC-4925-BE64-4EBC5F4C64A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DFD2725-2034-48A2-8BB6-47D844A186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93776" y="1306513"/>
            <a:ext cx="5741924" cy="48704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57303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5">
            <a:extLst>
              <a:ext uri="{FF2B5EF4-FFF2-40B4-BE49-F238E27FC236}">
                <a16:creationId xmlns:a16="http://schemas.microsoft.com/office/drawing/2014/main" id="{E963FA91-2E8D-4668-A0A8-B78EA30819AA}"/>
              </a:ext>
            </a:extLst>
          </p:cNvPr>
          <p:cNvSpPr>
            <a:spLocks noEditPoints="1"/>
          </p:cNvSpPr>
          <p:nvPr userDrawn="1"/>
        </p:nvSpPr>
        <p:spPr bwMode="ltGray">
          <a:xfrm>
            <a:off x="2050147" y="0"/>
            <a:ext cx="8091707" cy="6858000"/>
          </a:xfrm>
          <a:custGeom>
            <a:avLst/>
            <a:gdLst>
              <a:gd name="T0" fmla="*/ 1079 w 3392"/>
              <a:gd name="T1" fmla="*/ 2884 h 2884"/>
              <a:gd name="T2" fmla="*/ 803 w 3392"/>
              <a:gd name="T3" fmla="*/ 2884 h 2884"/>
              <a:gd name="T4" fmla="*/ 0 w 3392"/>
              <a:gd name="T5" fmla="*/ 1442 h 2884"/>
              <a:gd name="T6" fmla="*/ 803 w 3392"/>
              <a:gd name="T7" fmla="*/ 0 h 2884"/>
              <a:gd name="T8" fmla="*/ 1079 w 3392"/>
              <a:gd name="T9" fmla="*/ 0 h 2884"/>
              <a:gd name="T10" fmla="*/ 128 w 3392"/>
              <a:gd name="T11" fmla="*/ 1442 h 2884"/>
              <a:gd name="T12" fmla="*/ 1079 w 3392"/>
              <a:gd name="T13" fmla="*/ 2884 h 2884"/>
              <a:gd name="T14" fmla="*/ 3264 w 3392"/>
              <a:gd name="T15" fmla="*/ 1442 h 2884"/>
              <a:gd name="T16" fmla="*/ 2313 w 3392"/>
              <a:gd name="T17" fmla="*/ 2884 h 2884"/>
              <a:gd name="T18" fmla="*/ 2589 w 3392"/>
              <a:gd name="T19" fmla="*/ 2884 h 2884"/>
              <a:gd name="T20" fmla="*/ 3392 w 3392"/>
              <a:gd name="T21" fmla="*/ 1442 h 2884"/>
              <a:gd name="T22" fmla="*/ 2589 w 3392"/>
              <a:gd name="T23" fmla="*/ 0 h 2884"/>
              <a:gd name="T24" fmla="*/ 2313 w 3392"/>
              <a:gd name="T25" fmla="*/ 0 h 2884"/>
              <a:gd name="T26" fmla="*/ 3264 w 3392"/>
              <a:gd name="T27" fmla="*/ 1442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392" h="2884">
                <a:moveTo>
                  <a:pt x="1079" y="2884"/>
                </a:moveTo>
                <a:cubicBezTo>
                  <a:pt x="803" y="2884"/>
                  <a:pt x="803" y="2884"/>
                  <a:pt x="803" y="2884"/>
                </a:cubicBezTo>
                <a:cubicBezTo>
                  <a:pt x="321" y="2585"/>
                  <a:pt x="0" y="2051"/>
                  <a:pt x="0" y="1442"/>
                </a:cubicBezTo>
                <a:cubicBezTo>
                  <a:pt x="0" y="833"/>
                  <a:pt x="321" y="299"/>
                  <a:pt x="803" y="0"/>
                </a:cubicBezTo>
                <a:cubicBezTo>
                  <a:pt x="1079" y="0"/>
                  <a:pt x="1079" y="0"/>
                  <a:pt x="1079" y="0"/>
                </a:cubicBezTo>
                <a:cubicBezTo>
                  <a:pt x="520" y="240"/>
                  <a:pt x="128" y="795"/>
                  <a:pt x="128" y="1442"/>
                </a:cubicBezTo>
                <a:cubicBezTo>
                  <a:pt x="128" y="2089"/>
                  <a:pt x="520" y="2644"/>
                  <a:pt x="1079" y="2884"/>
                </a:cubicBezTo>
                <a:close/>
                <a:moveTo>
                  <a:pt x="3264" y="1442"/>
                </a:moveTo>
                <a:cubicBezTo>
                  <a:pt x="3264" y="2089"/>
                  <a:pt x="2872" y="2644"/>
                  <a:pt x="2313" y="2884"/>
                </a:cubicBezTo>
                <a:cubicBezTo>
                  <a:pt x="2589" y="2884"/>
                  <a:pt x="2589" y="2884"/>
                  <a:pt x="2589" y="2884"/>
                </a:cubicBezTo>
                <a:cubicBezTo>
                  <a:pt x="3071" y="2585"/>
                  <a:pt x="3392" y="2051"/>
                  <a:pt x="3392" y="1442"/>
                </a:cubicBezTo>
                <a:cubicBezTo>
                  <a:pt x="3392" y="833"/>
                  <a:pt x="3071" y="299"/>
                  <a:pt x="2589" y="0"/>
                </a:cubicBezTo>
                <a:cubicBezTo>
                  <a:pt x="2313" y="0"/>
                  <a:pt x="2313" y="0"/>
                  <a:pt x="2313" y="0"/>
                </a:cubicBezTo>
                <a:cubicBezTo>
                  <a:pt x="2872" y="240"/>
                  <a:pt x="3264" y="795"/>
                  <a:pt x="3264" y="1442"/>
                </a:cubicBez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2" name="Content Placeholder 13">
            <a:extLst>
              <a:ext uri="{FF2B5EF4-FFF2-40B4-BE49-F238E27FC236}">
                <a16:creationId xmlns:a16="http://schemas.microsoft.com/office/drawing/2014/main" id="{B9D677F4-4749-47B1-8AFA-DFA6D872EF2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293257" y="2004515"/>
            <a:ext cx="7605486" cy="284897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152396" indent="-152396" algn="ctr" defTabSz="914377" rtl="0" eaLnBrk="0" fontAlgn="base" hangingPunct="0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SzPct val="100000"/>
              <a:buNone/>
              <a:defRPr lang="en-US" sz="6000" b="0" i="0" kern="1200" baseline="0" dirty="0">
                <a:solidFill>
                  <a:schemeClr val="accent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  <a:sym typeface="Proxima Nova" charset="0"/>
              </a:defRPr>
            </a:lvl1pPr>
            <a:lvl2pPr marL="171445" marR="0" indent="0" algn="l" defTabSz="914377" rtl="0" eaLnBrk="0" fontAlgn="base" latinLnBrk="0" hangingPunct="0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Key Statement</a:t>
            </a:r>
            <a:br>
              <a:rPr lang="en-US"/>
            </a:br>
            <a:r>
              <a:rPr lang="en-US"/>
              <a:t>Placehold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C2602FE-8B27-4067-87FB-0DAB3C428ED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99" y="6051007"/>
            <a:ext cx="955343" cy="32004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lid Blue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>
            <a:extLst>
              <a:ext uri="{FF2B5EF4-FFF2-40B4-BE49-F238E27FC236}">
                <a16:creationId xmlns:a16="http://schemas.microsoft.com/office/drawing/2014/main" id="{2C82202C-7A22-4F82-BB7E-52012371FAD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93776" y="2632367"/>
            <a:ext cx="11193399" cy="16348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14300" indent="-114300" algn="l" defTabSz="685800" rtl="0" eaLnBrk="0" fontAlgn="base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SzPct val="100000"/>
              <a:buNone/>
              <a:defRPr lang="en-US" sz="4400" b="0" i="0" kern="1200" baseline="0" dirty="0">
                <a:solidFill>
                  <a:srgbClr val="FFFFFF"/>
                </a:solidFill>
                <a:latin typeface="+mn-lt"/>
                <a:ea typeface="Proxima Nova" panose="02000506030000020004" pitchFamily="50" charset="0"/>
                <a:cs typeface="Proxima Nova" panose="02000506030000020004" pitchFamily="50" charset="0"/>
                <a:sym typeface="Proxima Nova" charset="0"/>
              </a:defRPr>
            </a:lvl1pPr>
            <a:lvl2pPr marL="128587" marR="0" indent="0" algn="l" defTabSz="685800" rtl="0" eaLnBrk="0" fontAlgn="base" latinLnBrk="0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Text goes here.</a:t>
            </a:r>
          </a:p>
        </p:txBody>
      </p:sp>
    </p:spTree>
    <p:extLst>
      <p:ext uri="{BB962C8B-B14F-4D97-AF65-F5344CB8AC3E}">
        <p14:creationId xmlns:p14="http://schemas.microsoft.com/office/powerpoint/2010/main" val="357008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dient Background">
    <p:bg>
      <p:bgPr>
        <a:gradFill>
          <a:gsLst>
            <a:gs pos="0">
              <a:srgbClr val="009AE0"/>
            </a:gs>
            <a:gs pos="100000">
              <a:srgbClr val="00A846"/>
            </a:gs>
          </a:gsLst>
          <a:lin ang="3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>
            <a:extLst>
              <a:ext uri="{FF2B5EF4-FFF2-40B4-BE49-F238E27FC236}">
                <a16:creationId xmlns:a16="http://schemas.microsoft.com/office/drawing/2014/main" id="{2C82202C-7A22-4F82-BB7E-52012371FAD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93776" y="2632367"/>
            <a:ext cx="11193399" cy="16348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14300" indent="-114300" algn="l" defTabSz="685800" rtl="0" eaLnBrk="0" fontAlgn="base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SzPct val="100000"/>
              <a:buNone/>
              <a:defRPr lang="en-US" sz="4400" b="0" i="0" kern="1200" baseline="0" dirty="0">
                <a:solidFill>
                  <a:srgbClr val="FFFFFF"/>
                </a:solidFill>
                <a:latin typeface="+mn-lt"/>
                <a:ea typeface="Proxima Nova" panose="02000506030000020004" pitchFamily="50" charset="0"/>
                <a:cs typeface="Proxima Nova" panose="02000506030000020004" pitchFamily="50" charset="0"/>
                <a:sym typeface="Proxima Nova" charset="0"/>
              </a:defRPr>
            </a:lvl1pPr>
            <a:lvl2pPr marL="128587" marR="0" indent="0" algn="l" defTabSz="685800" rtl="0" eaLnBrk="0" fontAlgn="base" latinLnBrk="0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Text goes here.</a:t>
            </a:r>
          </a:p>
        </p:txBody>
      </p:sp>
    </p:spTree>
    <p:extLst>
      <p:ext uri="{BB962C8B-B14F-4D97-AF65-F5344CB8AC3E}">
        <p14:creationId xmlns:p14="http://schemas.microsoft.com/office/powerpoint/2010/main" val="646459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On-Screen Only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B010191-A0CB-4885-8BEB-367627E64C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50736" y="429413"/>
            <a:ext cx="1371600" cy="507492"/>
          </a:xfrm>
          <a:prstGeom prst="rect">
            <a:avLst/>
          </a:prstGeom>
        </p:spPr>
      </p:pic>
      <p:sp>
        <p:nvSpPr>
          <p:cNvPr id="7" name="Freeform 5">
            <a:extLst>
              <a:ext uri="{FF2B5EF4-FFF2-40B4-BE49-F238E27FC236}">
                <a16:creationId xmlns:a16="http://schemas.microsoft.com/office/drawing/2014/main" id="{FA2A827F-14B0-49A7-8921-55A1ADD9E971}"/>
              </a:ext>
            </a:extLst>
          </p:cNvPr>
          <p:cNvSpPr>
            <a:spLocks/>
          </p:cNvSpPr>
          <p:nvPr userDrawn="1"/>
        </p:nvSpPr>
        <p:spPr bwMode="ltGray">
          <a:xfrm>
            <a:off x="0" y="0"/>
            <a:ext cx="10037026" cy="6858000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27A0918-3038-4703-8101-983BBA6C44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493776" y="2324262"/>
            <a:ext cx="8315325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EB08D9C-3176-4C96-B2D3-820B5BA082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white">
          <a:xfrm>
            <a:off x="512438" y="4554950"/>
            <a:ext cx="5518225" cy="7541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rgbClr val="FFFFFF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pener/Clos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AF9195B-6ED2-49AC-9218-522143C81B76}"/>
              </a:ext>
            </a:extLst>
          </p:cNvPr>
          <p:cNvSpPr/>
          <p:nvPr userDrawn="1"/>
        </p:nvSpPr>
        <p:spPr bwMode="ltGray">
          <a:xfrm>
            <a:off x="1368552" y="0"/>
            <a:ext cx="9454896" cy="6858000"/>
          </a:xfrm>
          <a:custGeom>
            <a:avLst/>
            <a:gdLst>
              <a:gd name="connsiteX0" fmla="*/ 1475039 w 9454896"/>
              <a:gd name="connsiteY0" fmla="*/ 0 h 6858000"/>
              <a:gd name="connsiteX1" fmla="*/ 7979857 w 9454896"/>
              <a:gd name="connsiteY1" fmla="*/ 0 h 6858000"/>
              <a:gd name="connsiteX2" fmla="*/ 8070258 w 9454896"/>
              <a:gd name="connsiteY2" fmla="*/ 86190 h 6858000"/>
              <a:gd name="connsiteX3" fmla="*/ 9454896 w 9454896"/>
              <a:gd name="connsiteY3" fmla="*/ 3429000 h 6858000"/>
              <a:gd name="connsiteX4" fmla="*/ 8070258 w 9454896"/>
              <a:gd name="connsiteY4" fmla="*/ 6771811 h 6858000"/>
              <a:gd name="connsiteX5" fmla="*/ 7979857 w 9454896"/>
              <a:gd name="connsiteY5" fmla="*/ 6858000 h 6858000"/>
              <a:gd name="connsiteX6" fmla="*/ 1475039 w 9454896"/>
              <a:gd name="connsiteY6" fmla="*/ 6858000 h 6858000"/>
              <a:gd name="connsiteX7" fmla="*/ 1384638 w 9454896"/>
              <a:gd name="connsiteY7" fmla="*/ 6771811 h 6858000"/>
              <a:gd name="connsiteX8" fmla="*/ 0 w 9454896"/>
              <a:gd name="connsiteY8" fmla="*/ 3429000 h 6858000"/>
              <a:gd name="connsiteX9" fmla="*/ 1384638 w 9454896"/>
              <a:gd name="connsiteY9" fmla="*/ 8619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454896" h="6858000">
                <a:moveTo>
                  <a:pt x="1475039" y="0"/>
                </a:moveTo>
                <a:lnTo>
                  <a:pt x="7979857" y="0"/>
                </a:lnTo>
                <a:lnTo>
                  <a:pt x="8070258" y="86190"/>
                </a:lnTo>
                <a:cubicBezTo>
                  <a:pt x="8925758" y="941690"/>
                  <a:pt x="9454896" y="2123552"/>
                  <a:pt x="9454896" y="3429000"/>
                </a:cubicBezTo>
                <a:cubicBezTo>
                  <a:pt x="9454896" y="4734449"/>
                  <a:pt x="8925758" y="5916311"/>
                  <a:pt x="8070258" y="6771811"/>
                </a:cubicBezTo>
                <a:lnTo>
                  <a:pt x="7979857" y="6858000"/>
                </a:lnTo>
                <a:lnTo>
                  <a:pt x="1475039" y="6858000"/>
                </a:lnTo>
                <a:lnTo>
                  <a:pt x="1384638" y="6771811"/>
                </a:lnTo>
                <a:cubicBezTo>
                  <a:pt x="529138" y="5916311"/>
                  <a:pt x="0" y="4734449"/>
                  <a:pt x="0" y="3429000"/>
                </a:cubicBezTo>
                <a:cubicBezTo>
                  <a:pt x="0" y="2123552"/>
                  <a:pt x="529138" y="941690"/>
                  <a:pt x="1384638" y="86190"/>
                </a:cubicBez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>
              <a:sym typeface="Proxima Nova Light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87E50BA-27C6-47D2-8515-4845557F9C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5200" y="2176780"/>
            <a:ext cx="5181600" cy="250444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o Not Use">
    <p:bg>
      <p:bgPr>
        <a:solidFill>
          <a:srgbClr val="FC931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712D05C3-B4E4-435F-A620-EDB17198F734}"/>
              </a:ext>
            </a:extLst>
          </p:cNvPr>
          <p:cNvSpPr txBox="1">
            <a:spLocks/>
          </p:cNvSpPr>
          <p:nvPr userDrawn="1"/>
        </p:nvSpPr>
        <p:spPr>
          <a:xfrm>
            <a:off x="838200" y="2587724"/>
            <a:ext cx="10515600" cy="1716419"/>
          </a:xfrm>
          <a:prstGeom prst="rect">
            <a:avLst/>
          </a:prstGeom>
        </p:spPr>
        <p:txBody>
          <a:bodyPr vert="horz" lIns="0" tIns="121920" rIns="0" bIns="0" rtlCol="0" anchor="ctr">
            <a:noAutofit/>
          </a:bodyPr>
          <a:lstStyle>
            <a:lvl1pPr algn="ctr" defTabSz="685800" rtl="0" eaLnBrk="0" fontAlgn="base" hangingPunct="0">
              <a:lnSpc>
                <a:spcPct val="68000"/>
              </a:lnSpc>
              <a:spcBef>
                <a:spcPct val="0"/>
              </a:spcBef>
              <a:spcAft>
                <a:spcPct val="0"/>
              </a:spcAft>
              <a:defRPr kumimoji="0" lang="en-US" sz="3200" b="1" i="0" u="none" strike="noStrike" kern="1200" cap="all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Proxima Nova Black" charset="0"/>
              </a:defRPr>
            </a:lvl1pPr>
            <a:lvl2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2pPr>
            <a:lvl3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3pPr>
            <a:lvl4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4pPr>
            <a:lvl5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5pPr>
            <a:lvl6pPr marL="17145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6pPr>
            <a:lvl7pPr marL="34290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7pPr>
            <a:lvl8pPr marL="51435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8pPr>
            <a:lvl9pPr marL="68580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9pPr>
          </a:lstStyle>
          <a:p>
            <a:r>
              <a:rPr lang="en-US" sz="4267"/>
              <a:t>any masters that appear after this warning are </a:t>
            </a:r>
            <a:r>
              <a:rPr lang="en-US" sz="4267">
                <a:solidFill>
                  <a:srgbClr val="CD0000"/>
                </a:solidFill>
              </a:rPr>
              <a:t>rogue layouts </a:t>
            </a:r>
            <a:r>
              <a:rPr lang="en-US" sz="4267">
                <a:solidFill>
                  <a:srgbClr val="F9451B"/>
                </a:solidFill>
              </a:rPr>
              <a:t/>
            </a:r>
            <a:br>
              <a:rPr lang="en-US" sz="4267">
                <a:solidFill>
                  <a:srgbClr val="F9451B"/>
                </a:solidFill>
              </a:rPr>
            </a:br>
            <a:r>
              <a:rPr lang="en-US" sz="4267"/>
              <a:t>and should be deleted</a:t>
            </a:r>
          </a:p>
        </p:txBody>
      </p:sp>
      <p:sp>
        <p:nvSpPr>
          <p:cNvPr id="8" name="Freeform 11">
            <a:extLst>
              <a:ext uri="{FF2B5EF4-FFF2-40B4-BE49-F238E27FC236}">
                <a16:creationId xmlns:a16="http://schemas.microsoft.com/office/drawing/2014/main" id="{5525B98F-982E-4377-912F-012B18901CDD}"/>
              </a:ext>
            </a:extLst>
          </p:cNvPr>
          <p:cNvSpPr>
            <a:spLocks/>
          </p:cNvSpPr>
          <p:nvPr userDrawn="1"/>
        </p:nvSpPr>
        <p:spPr bwMode="invGray">
          <a:xfrm rot="10800000">
            <a:off x="5815727" y="4750775"/>
            <a:ext cx="558432" cy="411210"/>
          </a:xfrm>
          <a:custGeom>
            <a:avLst/>
            <a:gdLst>
              <a:gd name="T0" fmla="*/ 14 w 237"/>
              <a:gd name="T1" fmla="*/ 195 h 197"/>
              <a:gd name="T2" fmla="*/ 8 w 237"/>
              <a:gd name="T3" fmla="*/ 194 h 197"/>
              <a:gd name="T4" fmla="*/ 3 w 237"/>
              <a:gd name="T5" fmla="*/ 177 h 197"/>
              <a:gd name="T6" fmla="*/ 99 w 237"/>
              <a:gd name="T7" fmla="*/ 12 h 197"/>
              <a:gd name="T8" fmla="*/ 119 w 237"/>
              <a:gd name="T9" fmla="*/ 0 h 197"/>
              <a:gd name="T10" fmla="*/ 138 w 237"/>
              <a:gd name="T11" fmla="*/ 12 h 197"/>
              <a:gd name="T12" fmla="*/ 234 w 237"/>
              <a:gd name="T13" fmla="*/ 177 h 197"/>
              <a:gd name="T14" fmla="*/ 230 w 237"/>
              <a:gd name="T15" fmla="*/ 194 h 197"/>
              <a:gd name="T16" fmla="*/ 213 w 237"/>
              <a:gd name="T17" fmla="*/ 189 h 197"/>
              <a:gd name="T18" fmla="*/ 119 w 237"/>
              <a:gd name="T19" fmla="*/ 26 h 197"/>
              <a:gd name="T20" fmla="*/ 24 w 237"/>
              <a:gd name="T21" fmla="*/ 189 h 197"/>
              <a:gd name="T22" fmla="*/ 14 w 237"/>
              <a:gd name="T23" fmla="*/ 195 h 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7" h="197">
                <a:moveTo>
                  <a:pt x="14" y="195"/>
                </a:moveTo>
                <a:cubicBezTo>
                  <a:pt x="12" y="195"/>
                  <a:pt x="10" y="195"/>
                  <a:pt x="8" y="194"/>
                </a:cubicBezTo>
                <a:cubicBezTo>
                  <a:pt x="2" y="191"/>
                  <a:pt x="0" y="183"/>
                  <a:pt x="3" y="177"/>
                </a:cubicBezTo>
                <a:cubicBezTo>
                  <a:pt x="99" y="12"/>
                  <a:pt x="99" y="12"/>
                  <a:pt x="99" y="12"/>
                </a:cubicBezTo>
                <a:cubicBezTo>
                  <a:pt x="103" y="4"/>
                  <a:pt x="111" y="0"/>
                  <a:pt x="119" y="0"/>
                </a:cubicBezTo>
                <a:cubicBezTo>
                  <a:pt x="127" y="0"/>
                  <a:pt x="134" y="4"/>
                  <a:pt x="138" y="12"/>
                </a:cubicBezTo>
                <a:cubicBezTo>
                  <a:pt x="234" y="177"/>
                  <a:pt x="234" y="177"/>
                  <a:pt x="234" y="177"/>
                </a:cubicBezTo>
                <a:cubicBezTo>
                  <a:pt x="237" y="183"/>
                  <a:pt x="235" y="191"/>
                  <a:pt x="230" y="194"/>
                </a:cubicBezTo>
                <a:cubicBezTo>
                  <a:pt x="224" y="197"/>
                  <a:pt x="217" y="195"/>
                  <a:pt x="213" y="189"/>
                </a:cubicBezTo>
                <a:cubicBezTo>
                  <a:pt x="119" y="26"/>
                  <a:pt x="119" y="26"/>
                  <a:pt x="119" y="26"/>
                </a:cubicBezTo>
                <a:cubicBezTo>
                  <a:pt x="24" y="189"/>
                  <a:pt x="24" y="189"/>
                  <a:pt x="24" y="189"/>
                </a:cubicBezTo>
                <a:cubicBezTo>
                  <a:pt x="22" y="193"/>
                  <a:pt x="18" y="195"/>
                  <a:pt x="14" y="19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BD83303-64DB-4155-A239-5D0D737F0B38}"/>
              </a:ext>
            </a:extLst>
          </p:cNvPr>
          <p:cNvGrpSpPr/>
          <p:nvPr userDrawn="1"/>
        </p:nvGrpSpPr>
        <p:grpSpPr bwMode="black">
          <a:xfrm>
            <a:off x="5655735" y="1357760"/>
            <a:ext cx="880533" cy="783331"/>
            <a:chOff x="5046133" y="896938"/>
            <a:chExt cx="733425" cy="652463"/>
          </a:xfrm>
          <a:solidFill>
            <a:srgbClr val="FFFFFF"/>
          </a:solidFill>
        </p:grpSpPr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F109598A-4181-46AD-B31A-AE565CFA82A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046133" y="896938"/>
              <a:ext cx="733425" cy="652463"/>
            </a:xfrm>
            <a:custGeom>
              <a:avLst/>
              <a:gdLst>
                <a:gd name="T0" fmla="*/ 187 w 374"/>
                <a:gd name="T1" fmla="*/ 24 h 332"/>
                <a:gd name="T2" fmla="*/ 201 w 374"/>
                <a:gd name="T3" fmla="*/ 32 h 332"/>
                <a:gd name="T4" fmla="*/ 346 w 374"/>
                <a:gd name="T5" fmla="*/ 284 h 332"/>
                <a:gd name="T6" fmla="*/ 332 w 374"/>
                <a:gd name="T7" fmla="*/ 308 h 332"/>
                <a:gd name="T8" fmla="*/ 42 w 374"/>
                <a:gd name="T9" fmla="*/ 308 h 332"/>
                <a:gd name="T10" fmla="*/ 28 w 374"/>
                <a:gd name="T11" fmla="*/ 284 h 332"/>
                <a:gd name="T12" fmla="*/ 173 w 374"/>
                <a:gd name="T13" fmla="*/ 32 h 332"/>
                <a:gd name="T14" fmla="*/ 187 w 374"/>
                <a:gd name="T15" fmla="*/ 24 h 332"/>
                <a:gd name="T16" fmla="*/ 187 w 374"/>
                <a:gd name="T17" fmla="*/ 0 h 332"/>
                <a:gd name="T18" fmla="*/ 152 w 374"/>
                <a:gd name="T19" fmla="*/ 20 h 332"/>
                <a:gd name="T20" fmla="*/ 7 w 374"/>
                <a:gd name="T21" fmla="*/ 272 h 332"/>
                <a:gd name="T22" fmla="*/ 7 w 374"/>
                <a:gd name="T23" fmla="*/ 312 h 332"/>
                <a:gd name="T24" fmla="*/ 42 w 374"/>
                <a:gd name="T25" fmla="*/ 332 h 332"/>
                <a:gd name="T26" fmla="*/ 332 w 374"/>
                <a:gd name="T27" fmla="*/ 332 h 332"/>
                <a:gd name="T28" fmla="*/ 367 w 374"/>
                <a:gd name="T29" fmla="*/ 312 h 332"/>
                <a:gd name="T30" fmla="*/ 367 w 374"/>
                <a:gd name="T31" fmla="*/ 272 h 332"/>
                <a:gd name="T32" fmla="*/ 222 w 374"/>
                <a:gd name="T33" fmla="*/ 20 h 332"/>
                <a:gd name="T34" fmla="*/ 187 w 374"/>
                <a:gd name="T35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74" h="332">
                  <a:moveTo>
                    <a:pt x="187" y="24"/>
                  </a:moveTo>
                  <a:cubicBezTo>
                    <a:pt x="192" y="24"/>
                    <a:pt x="198" y="27"/>
                    <a:pt x="201" y="32"/>
                  </a:cubicBezTo>
                  <a:cubicBezTo>
                    <a:pt x="346" y="284"/>
                    <a:pt x="346" y="284"/>
                    <a:pt x="346" y="284"/>
                  </a:cubicBezTo>
                  <a:cubicBezTo>
                    <a:pt x="352" y="294"/>
                    <a:pt x="344" y="308"/>
                    <a:pt x="332" y="308"/>
                  </a:cubicBezTo>
                  <a:cubicBezTo>
                    <a:pt x="42" y="308"/>
                    <a:pt x="42" y="308"/>
                    <a:pt x="42" y="308"/>
                  </a:cubicBezTo>
                  <a:cubicBezTo>
                    <a:pt x="29" y="308"/>
                    <a:pt x="21" y="294"/>
                    <a:pt x="28" y="284"/>
                  </a:cubicBezTo>
                  <a:cubicBezTo>
                    <a:pt x="173" y="32"/>
                    <a:pt x="173" y="32"/>
                    <a:pt x="173" y="32"/>
                  </a:cubicBezTo>
                  <a:cubicBezTo>
                    <a:pt x="176" y="27"/>
                    <a:pt x="181" y="24"/>
                    <a:pt x="187" y="24"/>
                  </a:cubicBezTo>
                  <a:moveTo>
                    <a:pt x="187" y="0"/>
                  </a:moveTo>
                  <a:cubicBezTo>
                    <a:pt x="172" y="0"/>
                    <a:pt x="159" y="8"/>
                    <a:pt x="152" y="20"/>
                  </a:cubicBezTo>
                  <a:cubicBezTo>
                    <a:pt x="7" y="272"/>
                    <a:pt x="7" y="272"/>
                    <a:pt x="7" y="272"/>
                  </a:cubicBezTo>
                  <a:cubicBezTo>
                    <a:pt x="0" y="284"/>
                    <a:pt x="0" y="299"/>
                    <a:pt x="7" y="312"/>
                  </a:cubicBezTo>
                  <a:cubicBezTo>
                    <a:pt x="14" y="324"/>
                    <a:pt x="27" y="332"/>
                    <a:pt x="42" y="332"/>
                  </a:cubicBezTo>
                  <a:cubicBezTo>
                    <a:pt x="332" y="332"/>
                    <a:pt x="332" y="332"/>
                    <a:pt x="332" y="332"/>
                  </a:cubicBezTo>
                  <a:cubicBezTo>
                    <a:pt x="346" y="332"/>
                    <a:pt x="359" y="324"/>
                    <a:pt x="367" y="312"/>
                  </a:cubicBezTo>
                  <a:cubicBezTo>
                    <a:pt x="374" y="299"/>
                    <a:pt x="374" y="284"/>
                    <a:pt x="367" y="272"/>
                  </a:cubicBezTo>
                  <a:cubicBezTo>
                    <a:pt x="222" y="20"/>
                    <a:pt x="222" y="20"/>
                    <a:pt x="222" y="20"/>
                  </a:cubicBezTo>
                  <a:cubicBezTo>
                    <a:pt x="214" y="8"/>
                    <a:pt x="201" y="0"/>
                    <a:pt x="18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5E0C7EED-60F5-4F6C-91A7-D4CFB8BCAED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381096" y="1139826"/>
              <a:ext cx="61913" cy="261938"/>
            </a:xfrm>
            <a:custGeom>
              <a:avLst/>
              <a:gdLst>
                <a:gd name="T0" fmla="*/ 16 w 32"/>
                <a:gd name="T1" fmla="*/ 101 h 133"/>
                <a:gd name="T2" fmla="*/ 32 w 32"/>
                <a:gd name="T3" fmla="*/ 117 h 133"/>
                <a:gd name="T4" fmla="*/ 16 w 32"/>
                <a:gd name="T5" fmla="*/ 133 h 133"/>
                <a:gd name="T6" fmla="*/ 0 w 32"/>
                <a:gd name="T7" fmla="*/ 117 h 133"/>
                <a:gd name="T8" fmla="*/ 16 w 32"/>
                <a:gd name="T9" fmla="*/ 101 h 133"/>
                <a:gd name="T10" fmla="*/ 1 w 32"/>
                <a:gd name="T11" fmla="*/ 0 h 133"/>
                <a:gd name="T12" fmla="*/ 31 w 32"/>
                <a:gd name="T13" fmla="*/ 0 h 133"/>
                <a:gd name="T14" fmla="*/ 27 w 32"/>
                <a:gd name="T15" fmla="*/ 88 h 133"/>
                <a:gd name="T16" fmla="*/ 5 w 32"/>
                <a:gd name="T17" fmla="*/ 88 h 133"/>
                <a:gd name="T18" fmla="*/ 1 w 32"/>
                <a:gd name="T19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133">
                  <a:moveTo>
                    <a:pt x="16" y="101"/>
                  </a:moveTo>
                  <a:cubicBezTo>
                    <a:pt x="24" y="101"/>
                    <a:pt x="32" y="108"/>
                    <a:pt x="32" y="117"/>
                  </a:cubicBezTo>
                  <a:cubicBezTo>
                    <a:pt x="32" y="125"/>
                    <a:pt x="24" y="133"/>
                    <a:pt x="16" y="133"/>
                  </a:cubicBezTo>
                  <a:cubicBezTo>
                    <a:pt x="7" y="133"/>
                    <a:pt x="0" y="125"/>
                    <a:pt x="0" y="117"/>
                  </a:cubicBezTo>
                  <a:cubicBezTo>
                    <a:pt x="0" y="108"/>
                    <a:pt x="7" y="101"/>
                    <a:pt x="16" y="101"/>
                  </a:cubicBezTo>
                  <a:close/>
                  <a:moveTo>
                    <a:pt x="1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27" y="88"/>
                    <a:pt x="27" y="88"/>
                    <a:pt x="27" y="88"/>
                  </a:cubicBezTo>
                  <a:cubicBezTo>
                    <a:pt x="5" y="88"/>
                    <a:pt x="5" y="88"/>
                    <a:pt x="5" y="88"/>
                  </a:cubicBez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453273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(with Photo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>
            <a:extLst>
              <a:ext uri="{FF2B5EF4-FFF2-40B4-BE49-F238E27FC236}">
                <a16:creationId xmlns:a16="http://schemas.microsoft.com/office/drawing/2014/main" id="{1CAC31CE-8829-4BF7-A0EF-D09EA19BBD99}"/>
              </a:ext>
            </a:extLst>
          </p:cNvPr>
          <p:cNvSpPr>
            <a:spLocks/>
          </p:cNvSpPr>
          <p:nvPr userDrawn="1"/>
        </p:nvSpPr>
        <p:spPr bwMode="ltGray">
          <a:xfrm>
            <a:off x="6565900" y="0"/>
            <a:ext cx="5626100" cy="6859358"/>
          </a:xfrm>
          <a:custGeom>
            <a:avLst/>
            <a:gdLst>
              <a:gd name="T0" fmla="*/ 1212 w 1212"/>
              <a:gd name="T1" fmla="*/ 1011 h 1484"/>
              <a:gd name="T2" fmla="*/ 872 w 1212"/>
              <a:gd name="T3" fmla="*/ 1178 h 1484"/>
              <a:gd name="T4" fmla="*/ 442 w 1212"/>
              <a:gd name="T5" fmla="*/ 748 h 1484"/>
              <a:gd name="T6" fmla="*/ 872 w 1212"/>
              <a:gd name="T7" fmla="*/ 318 h 1484"/>
              <a:gd name="T8" fmla="*/ 1212 w 1212"/>
              <a:gd name="T9" fmla="*/ 485 h 1484"/>
              <a:gd name="T10" fmla="*/ 1212 w 1212"/>
              <a:gd name="T11" fmla="*/ 0 h 1484"/>
              <a:gd name="T12" fmla="*/ 424 w 1212"/>
              <a:gd name="T13" fmla="*/ 0 h 1484"/>
              <a:gd name="T14" fmla="*/ 0 w 1212"/>
              <a:gd name="T15" fmla="*/ 748 h 1484"/>
              <a:gd name="T16" fmla="*/ 404 w 1212"/>
              <a:gd name="T17" fmla="*/ 1484 h 1484"/>
              <a:gd name="T18" fmla="*/ 1212 w 1212"/>
              <a:gd name="T19" fmla="*/ 1484 h 1484"/>
              <a:gd name="T20" fmla="*/ 1212 w 1212"/>
              <a:gd name="T21" fmla="*/ 1011 h 1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212" h="1484">
                <a:moveTo>
                  <a:pt x="1212" y="1011"/>
                </a:moveTo>
                <a:cubicBezTo>
                  <a:pt x="1133" y="1113"/>
                  <a:pt x="1010" y="1178"/>
                  <a:pt x="872" y="1178"/>
                </a:cubicBezTo>
                <a:cubicBezTo>
                  <a:pt x="635" y="1178"/>
                  <a:pt x="442" y="985"/>
                  <a:pt x="442" y="748"/>
                </a:cubicBezTo>
                <a:cubicBezTo>
                  <a:pt x="442" y="511"/>
                  <a:pt x="635" y="318"/>
                  <a:pt x="872" y="318"/>
                </a:cubicBezTo>
                <a:cubicBezTo>
                  <a:pt x="1010" y="318"/>
                  <a:pt x="1133" y="383"/>
                  <a:pt x="1212" y="485"/>
                </a:cubicBezTo>
                <a:cubicBezTo>
                  <a:pt x="1212" y="0"/>
                  <a:pt x="1212" y="0"/>
                  <a:pt x="1212" y="0"/>
                </a:cubicBezTo>
                <a:cubicBezTo>
                  <a:pt x="424" y="0"/>
                  <a:pt x="424" y="0"/>
                  <a:pt x="424" y="0"/>
                </a:cubicBezTo>
                <a:cubicBezTo>
                  <a:pt x="170" y="152"/>
                  <a:pt x="0" y="430"/>
                  <a:pt x="0" y="748"/>
                </a:cubicBezTo>
                <a:cubicBezTo>
                  <a:pt x="0" y="1057"/>
                  <a:pt x="161" y="1329"/>
                  <a:pt x="404" y="1484"/>
                </a:cubicBezTo>
                <a:cubicBezTo>
                  <a:pt x="1212" y="1484"/>
                  <a:pt x="1212" y="1484"/>
                  <a:pt x="1212" y="1484"/>
                </a:cubicBezTo>
                <a:lnTo>
                  <a:pt x="1212" y="1011"/>
                </a:lnTo>
                <a:close/>
              </a:path>
            </a:pathLst>
          </a:custGeom>
          <a:gradFill>
            <a:gsLst>
              <a:gs pos="0">
                <a:srgbClr val="00ADE5"/>
              </a:gs>
              <a:gs pos="100000">
                <a:srgbClr val="00D257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78A08F9-81A3-40B0-B298-A4946C6723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99" y="6051007"/>
            <a:ext cx="955343" cy="320040"/>
          </a:xfrm>
          <a:prstGeom prst="rect">
            <a:avLst/>
          </a:prstGeom>
        </p:spPr>
      </p:pic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238C4C4-F7D6-466A-A81B-4E579A1D882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624903" y="1456265"/>
            <a:ext cx="3567097" cy="3994734"/>
          </a:xfrm>
          <a:custGeom>
            <a:avLst/>
            <a:gdLst>
              <a:gd name="connsiteX0" fmla="*/ 1996236 w 3567097"/>
              <a:gd name="connsiteY0" fmla="*/ 0 h 3994734"/>
              <a:gd name="connsiteX1" fmla="*/ 3536629 w 3567097"/>
              <a:gd name="connsiteY1" fmla="*/ 726856 h 3994734"/>
              <a:gd name="connsiteX2" fmla="*/ 3567097 w 3567097"/>
              <a:gd name="connsiteY2" fmla="*/ 767624 h 3994734"/>
              <a:gd name="connsiteX3" fmla="*/ 3567097 w 3567097"/>
              <a:gd name="connsiteY3" fmla="*/ 3227110 h 3994734"/>
              <a:gd name="connsiteX4" fmla="*/ 3536629 w 3567097"/>
              <a:gd name="connsiteY4" fmla="*/ 3267878 h 3994734"/>
              <a:gd name="connsiteX5" fmla="*/ 1996236 w 3567097"/>
              <a:gd name="connsiteY5" fmla="*/ 3994734 h 3994734"/>
              <a:gd name="connsiteX6" fmla="*/ 0 w 3567097"/>
              <a:gd name="connsiteY6" fmla="*/ 1997367 h 3994734"/>
              <a:gd name="connsiteX7" fmla="*/ 1996236 w 3567097"/>
              <a:gd name="connsiteY7" fmla="*/ 0 h 3994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67097" h="3994734">
                <a:moveTo>
                  <a:pt x="1996236" y="0"/>
                </a:moveTo>
                <a:cubicBezTo>
                  <a:pt x="2616387" y="0"/>
                  <a:pt x="3170490" y="282947"/>
                  <a:pt x="3536629" y="726856"/>
                </a:cubicBezTo>
                <a:lnTo>
                  <a:pt x="3567097" y="767624"/>
                </a:lnTo>
                <a:lnTo>
                  <a:pt x="3567097" y="3227110"/>
                </a:lnTo>
                <a:lnTo>
                  <a:pt x="3536629" y="3267878"/>
                </a:lnTo>
                <a:cubicBezTo>
                  <a:pt x="3170490" y="3711787"/>
                  <a:pt x="2616387" y="3994734"/>
                  <a:pt x="1996236" y="3994734"/>
                </a:cubicBezTo>
                <a:cubicBezTo>
                  <a:pt x="893745" y="3994734"/>
                  <a:pt x="0" y="3100482"/>
                  <a:pt x="0" y="1997367"/>
                </a:cubicBezTo>
                <a:cubicBezTo>
                  <a:pt x="0" y="894252"/>
                  <a:pt x="893745" y="0"/>
                  <a:pt x="1996236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FA711328-EBF9-499E-BC02-E87673C3B6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2324262"/>
            <a:ext cx="5536887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50348B5-3F95-4960-B99C-D51F6A237FE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38" y="4554950"/>
            <a:ext cx="5518225" cy="78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512047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(for Printing)">
    <p:bg bwMode="ltGray">
      <p:bgPr>
        <a:gradFill>
          <a:gsLst>
            <a:gs pos="32000">
              <a:srgbClr val="009AE0"/>
            </a:gs>
            <a:gs pos="52000">
              <a:srgbClr val="009AE0"/>
            </a:gs>
            <a:gs pos="100000">
              <a:srgbClr val="00A846"/>
            </a:gs>
          </a:gsLst>
          <a:lin ang="3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">
            <a:extLst>
              <a:ext uri="{FF2B5EF4-FFF2-40B4-BE49-F238E27FC236}">
                <a16:creationId xmlns:a16="http://schemas.microsoft.com/office/drawing/2014/main" id="{FA2A827F-14B0-49A7-8921-55A1ADD9E971}"/>
              </a:ext>
            </a:extLst>
          </p:cNvPr>
          <p:cNvSpPr>
            <a:spLocks/>
          </p:cNvSpPr>
          <p:nvPr/>
        </p:nvSpPr>
        <p:spPr bwMode="white">
          <a:xfrm>
            <a:off x="0" y="0"/>
            <a:ext cx="10037026" cy="6858000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27A0918-3038-4703-8101-983BBA6C44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2324262"/>
            <a:ext cx="8315325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EB08D9C-3176-4C96-B2D3-820B5BA082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38" y="4554950"/>
            <a:ext cx="5518225" cy="78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chemeClr val="accent1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706FDC6-3AEF-4F15-8624-DF19A27FD1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387222" y="462622"/>
            <a:ext cx="1312590" cy="439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161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(On-Screen Only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">
            <a:extLst>
              <a:ext uri="{FF2B5EF4-FFF2-40B4-BE49-F238E27FC236}">
                <a16:creationId xmlns:a16="http://schemas.microsoft.com/office/drawing/2014/main" id="{FA2A827F-14B0-49A7-8921-55A1ADD9E971}"/>
              </a:ext>
            </a:extLst>
          </p:cNvPr>
          <p:cNvSpPr>
            <a:spLocks/>
          </p:cNvSpPr>
          <p:nvPr/>
        </p:nvSpPr>
        <p:spPr bwMode="ltGray">
          <a:xfrm>
            <a:off x="0" y="0"/>
            <a:ext cx="10037026" cy="6858000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27A0918-3038-4703-8101-983BBA6C44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493776" y="2324262"/>
            <a:ext cx="8315325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EB08D9C-3176-4C96-B2D3-820B5BA082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white">
          <a:xfrm>
            <a:off x="512438" y="4554950"/>
            <a:ext cx="5518225" cy="7541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rgbClr val="FFFFFF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C60165E-88CB-4C4F-8D10-AE6F48290A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87222" y="462622"/>
            <a:ext cx="1312590" cy="439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1039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Option B (with Photo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>
            <a:extLst>
              <a:ext uri="{FF2B5EF4-FFF2-40B4-BE49-F238E27FC236}">
                <a16:creationId xmlns:a16="http://schemas.microsoft.com/office/drawing/2014/main" id="{1CAC31CE-8829-4BF7-A0EF-D09EA19BBD99}"/>
              </a:ext>
            </a:extLst>
          </p:cNvPr>
          <p:cNvSpPr>
            <a:spLocks/>
          </p:cNvSpPr>
          <p:nvPr/>
        </p:nvSpPr>
        <p:spPr bwMode="ltGray">
          <a:xfrm>
            <a:off x="6565900" y="0"/>
            <a:ext cx="5626100" cy="6859358"/>
          </a:xfrm>
          <a:custGeom>
            <a:avLst/>
            <a:gdLst>
              <a:gd name="T0" fmla="*/ 1212 w 1212"/>
              <a:gd name="T1" fmla="*/ 1011 h 1484"/>
              <a:gd name="T2" fmla="*/ 872 w 1212"/>
              <a:gd name="T3" fmla="*/ 1178 h 1484"/>
              <a:gd name="T4" fmla="*/ 442 w 1212"/>
              <a:gd name="T5" fmla="*/ 748 h 1484"/>
              <a:gd name="T6" fmla="*/ 872 w 1212"/>
              <a:gd name="T7" fmla="*/ 318 h 1484"/>
              <a:gd name="T8" fmla="*/ 1212 w 1212"/>
              <a:gd name="T9" fmla="*/ 485 h 1484"/>
              <a:gd name="T10" fmla="*/ 1212 w 1212"/>
              <a:gd name="T11" fmla="*/ 0 h 1484"/>
              <a:gd name="T12" fmla="*/ 424 w 1212"/>
              <a:gd name="T13" fmla="*/ 0 h 1484"/>
              <a:gd name="T14" fmla="*/ 0 w 1212"/>
              <a:gd name="T15" fmla="*/ 748 h 1484"/>
              <a:gd name="T16" fmla="*/ 404 w 1212"/>
              <a:gd name="T17" fmla="*/ 1484 h 1484"/>
              <a:gd name="T18" fmla="*/ 1212 w 1212"/>
              <a:gd name="T19" fmla="*/ 1484 h 1484"/>
              <a:gd name="T20" fmla="*/ 1212 w 1212"/>
              <a:gd name="T21" fmla="*/ 1011 h 1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212" h="1484">
                <a:moveTo>
                  <a:pt x="1212" y="1011"/>
                </a:moveTo>
                <a:cubicBezTo>
                  <a:pt x="1133" y="1113"/>
                  <a:pt x="1010" y="1178"/>
                  <a:pt x="872" y="1178"/>
                </a:cubicBezTo>
                <a:cubicBezTo>
                  <a:pt x="635" y="1178"/>
                  <a:pt x="442" y="985"/>
                  <a:pt x="442" y="748"/>
                </a:cubicBezTo>
                <a:cubicBezTo>
                  <a:pt x="442" y="511"/>
                  <a:pt x="635" y="318"/>
                  <a:pt x="872" y="318"/>
                </a:cubicBezTo>
                <a:cubicBezTo>
                  <a:pt x="1010" y="318"/>
                  <a:pt x="1133" y="383"/>
                  <a:pt x="1212" y="485"/>
                </a:cubicBezTo>
                <a:cubicBezTo>
                  <a:pt x="1212" y="0"/>
                  <a:pt x="1212" y="0"/>
                  <a:pt x="1212" y="0"/>
                </a:cubicBezTo>
                <a:cubicBezTo>
                  <a:pt x="424" y="0"/>
                  <a:pt x="424" y="0"/>
                  <a:pt x="424" y="0"/>
                </a:cubicBezTo>
                <a:cubicBezTo>
                  <a:pt x="170" y="152"/>
                  <a:pt x="0" y="430"/>
                  <a:pt x="0" y="748"/>
                </a:cubicBezTo>
                <a:cubicBezTo>
                  <a:pt x="0" y="1057"/>
                  <a:pt x="161" y="1329"/>
                  <a:pt x="404" y="1484"/>
                </a:cubicBezTo>
                <a:cubicBezTo>
                  <a:pt x="1212" y="1484"/>
                  <a:pt x="1212" y="1484"/>
                  <a:pt x="1212" y="1484"/>
                </a:cubicBezTo>
                <a:lnTo>
                  <a:pt x="1212" y="1011"/>
                </a:ln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238C4C4-F7D6-466A-A81B-4E579A1D882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624903" y="1456265"/>
            <a:ext cx="3567097" cy="3994734"/>
          </a:xfrm>
          <a:custGeom>
            <a:avLst/>
            <a:gdLst>
              <a:gd name="connsiteX0" fmla="*/ 1996236 w 3567097"/>
              <a:gd name="connsiteY0" fmla="*/ 0 h 3994734"/>
              <a:gd name="connsiteX1" fmla="*/ 3536629 w 3567097"/>
              <a:gd name="connsiteY1" fmla="*/ 726856 h 3994734"/>
              <a:gd name="connsiteX2" fmla="*/ 3567097 w 3567097"/>
              <a:gd name="connsiteY2" fmla="*/ 767624 h 3994734"/>
              <a:gd name="connsiteX3" fmla="*/ 3567097 w 3567097"/>
              <a:gd name="connsiteY3" fmla="*/ 3227110 h 3994734"/>
              <a:gd name="connsiteX4" fmla="*/ 3536629 w 3567097"/>
              <a:gd name="connsiteY4" fmla="*/ 3267878 h 3994734"/>
              <a:gd name="connsiteX5" fmla="*/ 1996236 w 3567097"/>
              <a:gd name="connsiteY5" fmla="*/ 3994734 h 3994734"/>
              <a:gd name="connsiteX6" fmla="*/ 0 w 3567097"/>
              <a:gd name="connsiteY6" fmla="*/ 1997367 h 3994734"/>
              <a:gd name="connsiteX7" fmla="*/ 1996236 w 3567097"/>
              <a:gd name="connsiteY7" fmla="*/ 0 h 3994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67097" h="3994734">
                <a:moveTo>
                  <a:pt x="1996236" y="0"/>
                </a:moveTo>
                <a:cubicBezTo>
                  <a:pt x="2616387" y="0"/>
                  <a:pt x="3170490" y="282947"/>
                  <a:pt x="3536629" y="726856"/>
                </a:cubicBezTo>
                <a:lnTo>
                  <a:pt x="3567097" y="767624"/>
                </a:lnTo>
                <a:lnTo>
                  <a:pt x="3567097" y="3227110"/>
                </a:lnTo>
                <a:lnTo>
                  <a:pt x="3536629" y="3267878"/>
                </a:lnTo>
                <a:cubicBezTo>
                  <a:pt x="3170490" y="3711787"/>
                  <a:pt x="2616387" y="3994734"/>
                  <a:pt x="1996236" y="3994734"/>
                </a:cubicBezTo>
                <a:cubicBezTo>
                  <a:pt x="893745" y="3994734"/>
                  <a:pt x="0" y="3100482"/>
                  <a:pt x="0" y="1997367"/>
                </a:cubicBezTo>
                <a:cubicBezTo>
                  <a:pt x="0" y="894252"/>
                  <a:pt x="893745" y="0"/>
                  <a:pt x="1996236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FA711328-EBF9-499E-BC02-E87673C3B6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2151986"/>
            <a:ext cx="5536887" cy="1876263"/>
          </a:xfrm>
        </p:spPr>
        <p:txBody>
          <a:bodyPr vert="horz" lIns="0" tIns="182880" rIns="0" bIns="0" rtlCol="0" anchor="b">
            <a:noAutofit/>
          </a:bodyPr>
          <a:lstStyle>
            <a:lvl1pPr>
              <a:defRPr lang="en-US" sz="5400" dirty="0">
                <a:solidFill>
                  <a:schemeClr val="accent1"/>
                </a:solidFill>
                <a:latin typeface="+mn-lt"/>
                <a:cs typeface="+mj-cs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50348B5-3F95-4960-B99C-D51F6A237FE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38" y="4554950"/>
            <a:ext cx="5518225" cy="78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chemeClr val="accent1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06625D3-6D99-42FC-9BD2-4FB7B9138D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3499" y="6051007"/>
            <a:ext cx="955343" cy="32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212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CF28A28-4922-4916-AFC6-845CCE61E5FF}"/>
              </a:ext>
            </a:extLst>
          </p:cNvPr>
          <p:cNvSpPr/>
          <p:nvPr/>
        </p:nvSpPr>
        <p:spPr>
          <a:xfrm>
            <a:off x="0" y="2308250"/>
            <a:ext cx="12192000" cy="2241500"/>
          </a:xfrm>
          <a:prstGeom prst="rect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FEAD26-BB58-4888-8067-7BFE89073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2308250"/>
            <a:ext cx="11204448" cy="2241500"/>
          </a:xfrm>
        </p:spPr>
        <p:txBody>
          <a:bodyPr vert="horz" lIns="457200" tIns="0" rIns="457200" bIns="0" rtlCol="0" anchor="ctr">
            <a:noAutofit/>
          </a:bodyPr>
          <a:lstStyle>
            <a:lvl1pPr algn="ctr">
              <a:defRPr lang="en-US" sz="600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F4B4470-AF44-490D-B3D0-FE6FB03B6585}"/>
              </a:ext>
            </a:extLst>
          </p:cNvPr>
          <p:cNvSpPr/>
          <p:nvPr/>
        </p:nvSpPr>
        <p:spPr>
          <a:xfrm>
            <a:off x="132899" y="6218787"/>
            <a:ext cx="11926202" cy="325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7371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4BFCF5BB-9E8B-4217-967B-E69B7177F9C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16256" y="1003300"/>
            <a:ext cx="5481968" cy="495300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Bef>
                <a:spcPts val="1200"/>
              </a:spcBef>
              <a:spcAft>
                <a:spcPts val="0"/>
              </a:spcAft>
              <a:defRPr sz="2800" b="1">
                <a:latin typeface="+mj-lt"/>
              </a:defRPr>
            </a:lvl1pPr>
            <a:lvl2pPr marL="0" indent="0">
              <a:spcBef>
                <a:spcPts val="120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2800" b="1">
                <a:solidFill>
                  <a:schemeClr val="accent1"/>
                </a:solidFill>
              </a:defRPr>
            </a:lvl2pPr>
            <a:lvl3pPr marL="228600" indent="-22860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ct val="80000"/>
              <a:buFont typeface="Arial" panose="020B0604020202020204" pitchFamily="34" charset="0"/>
              <a:buChar char="•"/>
              <a:defRPr sz="2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401638" indent="-173038">
              <a:buFont typeface="Arial" panose="020B0604020202020204" pitchFamily="34" charset="0"/>
              <a:buChar char="̵"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 marL="0" indent="0">
              <a:spcBef>
                <a:spcPts val="120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2000"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662846C-0294-4C31-A1AF-8DE92524D15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B233E9D7-7A6D-4859-8727-AD3BE12D4773}"/>
              </a:ext>
            </a:extLst>
          </p:cNvPr>
          <p:cNvSpPr txBox="1">
            <a:spLocks/>
          </p:cNvSpPr>
          <p:nvPr/>
        </p:nvSpPr>
        <p:spPr>
          <a:xfrm>
            <a:off x="645898" y="1694088"/>
            <a:ext cx="5647028" cy="17426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Proxima Nova Black" charset="0"/>
              </a:defRPr>
            </a:lvl1pPr>
            <a:lvl2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2pPr>
            <a:lvl3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3pPr>
            <a:lvl4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4pPr>
            <a:lvl5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5pPr>
            <a:lvl6pPr marL="228594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6pPr>
            <a:lvl7pPr marL="457189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7pPr>
            <a:lvl8pPr marL="685783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8pPr>
            <a:lvl9pPr marL="914377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9pPr>
          </a:lstStyle>
          <a:p>
            <a:r>
              <a:rPr lang="en-US"/>
              <a:t>Agenda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9E10F5BB-8BA0-4329-B8A2-D24501D14D4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AFE4B87-AB83-4304-BBDA-6963838CE43E}"/>
              </a:ext>
            </a:extLst>
          </p:cNvPr>
          <p:cNvSpPr txBox="1">
            <a:spLocks/>
          </p:cNvSpPr>
          <p:nvPr userDrawn="1"/>
        </p:nvSpPr>
        <p:spPr>
          <a:xfrm>
            <a:off x="9332686" y="62104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18E881-30FB-451B-BCD4-27C99034D62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0315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4A58EC3-CBBE-40C6-BACD-B91C5DEB98D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9B1E174-6AB6-4FB5-9BF5-AB5031CB1BF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</p:spTree>
    <p:extLst>
      <p:ext uri="{BB962C8B-B14F-4D97-AF65-F5344CB8AC3E}">
        <p14:creationId xmlns:p14="http://schemas.microsoft.com/office/powerpoint/2010/main" val="4122364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Copy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1EF8FE3-90FC-4CE2-A861-BBB367FA50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1321711"/>
            <a:ext cx="11204448" cy="4854722"/>
          </a:xfrm>
          <a:prstGeom prst="rect">
            <a:avLst/>
          </a:prstGeom>
        </p:spPr>
        <p:txBody>
          <a:bodyPr tIns="0">
            <a:noAutofit/>
          </a:bodyPr>
          <a:lstStyle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2E0346-B328-429D-9C68-41755BD2603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C4681B6-8BF4-4456-8C80-C5E766998CA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F71271-2672-48F6-BC19-53395FF7C065}"/>
              </a:ext>
            </a:extLst>
          </p:cNvPr>
          <p:cNvSpPr txBox="1">
            <a:spLocks/>
          </p:cNvSpPr>
          <p:nvPr userDrawn="1"/>
        </p:nvSpPr>
        <p:spPr>
          <a:xfrm>
            <a:off x="9332686" y="62104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18E881-30FB-451B-BCD4-27C99034D62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3558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B (with Photo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41201FA-5DBA-4DE0-B906-E28ACF9BC73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3862" y="6024584"/>
            <a:ext cx="996696" cy="368778"/>
          </a:xfrm>
          <a:prstGeom prst="rect">
            <a:avLst/>
          </a:prstGeom>
        </p:spPr>
      </p:pic>
      <p:sp>
        <p:nvSpPr>
          <p:cNvPr id="6" name="Freeform 5">
            <a:extLst>
              <a:ext uri="{FF2B5EF4-FFF2-40B4-BE49-F238E27FC236}">
                <a16:creationId xmlns:a16="http://schemas.microsoft.com/office/drawing/2014/main" id="{1CAC31CE-8829-4BF7-A0EF-D09EA19BBD99}"/>
              </a:ext>
            </a:extLst>
          </p:cNvPr>
          <p:cNvSpPr>
            <a:spLocks/>
          </p:cNvSpPr>
          <p:nvPr userDrawn="1"/>
        </p:nvSpPr>
        <p:spPr bwMode="ltGray">
          <a:xfrm>
            <a:off x="6565900" y="0"/>
            <a:ext cx="5626100" cy="6859358"/>
          </a:xfrm>
          <a:custGeom>
            <a:avLst/>
            <a:gdLst>
              <a:gd name="T0" fmla="*/ 1212 w 1212"/>
              <a:gd name="T1" fmla="*/ 1011 h 1484"/>
              <a:gd name="T2" fmla="*/ 872 w 1212"/>
              <a:gd name="T3" fmla="*/ 1178 h 1484"/>
              <a:gd name="T4" fmla="*/ 442 w 1212"/>
              <a:gd name="T5" fmla="*/ 748 h 1484"/>
              <a:gd name="T6" fmla="*/ 872 w 1212"/>
              <a:gd name="T7" fmla="*/ 318 h 1484"/>
              <a:gd name="T8" fmla="*/ 1212 w 1212"/>
              <a:gd name="T9" fmla="*/ 485 h 1484"/>
              <a:gd name="T10" fmla="*/ 1212 w 1212"/>
              <a:gd name="T11" fmla="*/ 0 h 1484"/>
              <a:gd name="T12" fmla="*/ 424 w 1212"/>
              <a:gd name="T13" fmla="*/ 0 h 1484"/>
              <a:gd name="T14" fmla="*/ 0 w 1212"/>
              <a:gd name="T15" fmla="*/ 748 h 1484"/>
              <a:gd name="T16" fmla="*/ 404 w 1212"/>
              <a:gd name="T17" fmla="*/ 1484 h 1484"/>
              <a:gd name="T18" fmla="*/ 1212 w 1212"/>
              <a:gd name="T19" fmla="*/ 1484 h 1484"/>
              <a:gd name="T20" fmla="*/ 1212 w 1212"/>
              <a:gd name="T21" fmla="*/ 1011 h 1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212" h="1484">
                <a:moveTo>
                  <a:pt x="1212" y="1011"/>
                </a:moveTo>
                <a:cubicBezTo>
                  <a:pt x="1133" y="1113"/>
                  <a:pt x="1010" y="1178"/>
                  <a:pt x="872" y="1178"/>
                </a:cubicBezTo>
                <a:cubicBezTo>
                  <a:pt x="635" y="1178"/>
                  <a:pt x="442" y="985"/>
                  <a:pt x="442" y="748"/>
                </a:cubicBezTo>
                <a:cubicBezTo>
                  <a:pt x="442" y="511"/>
                  <a:pt x="635" y="318"/>
                  <a:pt x="872" y="318"/>
                </a:cubicBezTo>
                <a:cubicBezTo>
                  <a:pt x="1010" y="318"/>
                  <a:pt x="1133" y="383"/>
                  <a:pt x="1212" y="485"/>
                </a:cubicBezTo>
                <a:cubicBezTo>
                  <a:pt x="1212" y="0"/>
                  <a:pt x="1212" y="0"/>
                  <a:pt x="1212" y="0"/>
                </a:cubicBezTo>
                <a:cubicBezTo>
                  <a:pt x="424" y="0"/>
                  <a:pt x="424" y="0"/>
                  <a:pt x="424" y="0"/>
                </a:cubicBezTo>
                <a:cubicBezTo>
                  <a:pt x="170" y="152"/>
                  <a:pt x="0" y="430"/>
                  <a:pt x="0" y="748"/>
                </a:cubicBezTo>
                <a:cubicBezTo>
                  <a:pt x="0" y="1057"/>
                  <a:pt x="161" y="1329"/>
                  <a:pt x="404" y="1484"/>
                </a:cubicBezTo>
                <a:cubicBezTo>
                  <a:pt x="1212" y="1484"/>
                  <a:pt x="1212" y="1484"/>
                  <a:pt x="1212" y="1484"/>
                </a:cubicBezTo>
                <a:lnTo>
                  <a:pt x="1212" y="1011"/>
                </a:ln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238C4C4-F7D6-466A-A81B-4E579A1D882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624903" y="1456265"/>
            <a:ext cx="3567097" cy="3994734"/>
          </a:xfrm>
          <a:custGeom>
            <a:avLst/>
            <a:gdLst>
              <a:gd name="connsiteX0" fmla="*/ 1996236 w 3567097"/>
              <a:gd name="connsiteY0" fmla="*/ 0 h 3994734"/>
              <a:gd name="connsiteX1" fmla="*/ 3536629 w 3567097"/>
              <a:gd name="connsiteY1" fmla="*/ 726856 h 3994734"/>
              <a:gd name="connsiteX2" fmla="*/ 3567097 w 3567097"/>
              <a:gd name="connsiteY2" fmla="*/ 767624 h 3994734"/>
              <a:gd name="connsiteX3" fmla="*/ 3567097 w 3567097"/>
              <a:gd name="connsiteY3" fmla="*/ 3227110 h 3994734"/>
              <a:gd name="connsiteX4" fmla="*/ 3536629 w 3567097"/>
              <a:gd name="connsiteY4" fmla="*/ 3267878 h 3994734"/>
              <a:gd name="connsiteX5" fmla="*/ 1996236 w 3567097"/>
              <a:gd name="connsiteY5" fmla="*/ 3994734 h 3994734"/>
              <a:gd name="connsiteX6" fmla="*/ 0 w 3567097"/>
              <a:gd name="connsiteY6" fmla="*/ 1997367 h 3994734"/>
              <a:gd name="connsiteX7" fmla="*/ 1996236 w 3567097"/>
              <a:gd name="connsiteY7" fmla="*/ 0 h 3994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67097" h="3994734">
                <a:moveTo>
                  <a:pt x="1996236" y="0"/>
                </a:moveTo>
                <a:cubicBezTo>
                  <a:pt x="2616387" y="0"/>
                  <a:pt x="3170490" y="282947"/>
                  <a:pt x="3536629" y="726856"/>
                </a:cubicBezTo>
                <a:lnTo>
                  <a:pt x="3567097" y="767624"/>
                </a:lnTo>
                <a:lnTo>
                  <a:pt x="3567097" y="3227110"/>
                </a:lnTo>
                <a:lnTo>
                  <a:pt x="3536629" y="3267878"/>
                </a:lnTo>
                <a:cubicBezTo>
                  <a:pt x="3170490" y="3711787"/>
                  <a:pt x="2616387" y="3994734"/>
                  <a:pt x="1996236" y="3994734"/>
                </a:cubicBezTo>
                <a:cubicBezTo>
                  <a:pt x="893745" y="3994734"/>
                  <a:pt x="0" y="3100482"/>
                  <a:pt x="0" y="1997367"/>
                </a:cubicBezTo>
                <a:cubicBezTo>
                  <a:pt x="0" y="894252"/>
                  <a:pt x="893745" y="0"/>
                  <a:pt x="1996236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FA711328-EBF9-499E-BC02-E87673C3B6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2151986"/>
            <a:ext cx="5536887" cy="1876263"/>
          </a:xfrm>
        </p:spPr>
        <p:txBody>
          <a:bodyPr vert="horz" lIns="0" tIns="182880" rIns="0" bIns="0" rtlCol="0" anchor="b">
            <a:noAutofit/>
          </a:bodyPr>
          <a:lstStyle>
            <a:lvl1pPr>
              <a:defRPr lang="en-US" sz="5400" dirty="0">
                <a:solidFill>
                  <a:schemeClr val="accent1"/>
                </a:solidFill>
                <a:latin typeface="+mn-lt"/>
                <a:cs typeface="+mj-cs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50348B5-3F95-4960-B99C-D51F6A237FE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38" y="4554950"/>
            <a:ext cx="5518225" cy="78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chemeClr val="accent1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567467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Copy with Subtitle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1EF8FE3-90FC-4CE2-A861-BBB367FA50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1871133"/>
            <a:ext cx="11204448" cy="4305300"/>
          </a:xfrm>
          <a:prstGeom prst="rect">
            <a:avLst/>
          </a:prstGeom>
        </p:spPr>
        <p:txBody>
          <a:bodyPr tIns="0">
            <a:noAutofit/>
          </a:bodyPr>
          <a:lstStyle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2E0346-B328-429D-9C68-41755BD2603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64B0CAA-EEE3-4C6E-B655-8905CBF48B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93776" y="1087026"/>
            <a:ext cx="11204448" cy="418570"/>
          </a:xfrm>
        </p:spPr>
        <p:txBody>
          <a:bodyPr anchor="t"/>
          <a:lstStyle>
            <a:lvl1pPr marL="0" indent="0">
              <a:buNone/>
              <a:defRPr sz="22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holder sub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0BDF31F-F938-4A4D-81AD-32D2EAFABA6D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7B62AD9-91F5-4EE5-9154-949334310311}"/>
              </a:ext>
            </a:extLst>
          </p:cNvPr>
          <p:cNvSpPr txBox="1">
            <a:spLocks/>
          </p:cNvSpPr>
          <p:nvPr userDrawn="1"/>
        </p:nvSpPr>
        <p:spPr>
          <a:xfrm>
            <a:off x="9332686" y="62104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18E881-30FB-451B-BCD4-27C99034D62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3457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Copy_No Logo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1EF8FE3-90FC-4CE2-A861-BBB367FA50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1321711"/>
            <a:ext cx="11204448" cy="4854722"/>
          </a:xfrm>
          <a:prstGeom prst="rect">
            <a:avLst/>
          </a:prstGeom>
        </p:spPr>
        <p:txBody>
          <a:bodyPr tIns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5232D39-0A1A-4BA0-979D-C31433B2E69B}"/>
              </a:ext>
            </a:extLst>
          </p:cNvPr>
          <p:cNvSpPr/>
          <p:nvPr/>
        </p:nvSpPr>
        <p:spPr bwMode="white">
          <a:xfrm>
            <a:off x="0" y="6249122"/>
            <a:ext cx="12192000" cy="6040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0169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Copy (Two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Text Placeholder 14">
            <a:extLst>
              <a:ext uri="{FF2B5EF4-FFF2-40B4-BE49-F238E27FC236}">
                <a16:creationId xmlns:a16="http://schemas.microsoft.com/office/drawing/2014/main" id="{2DA0B400-1FD0-4E71-99C4-0FFC675A0A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16256" y="1321711"/>
            <a:ext cx="5481968" cy="48550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5A309F3-1319-4540-8AC3-1F65844DD0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3775" y="1321711"/>
            <a:ext cx="5481967" cy="48550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B0EDF6-74F5-4BCC-AA48-B7297D5DC9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E264CB-2F28-4218-974F-746E15F9652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9F081E9-D767-4156-81FC-0DF0FA8985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A906660-664F-4E9F-907C-C78FB8B0F8C2}"/>
              </a:ext>
            </a:extLst>
          </p:cNvPr>
          <p:cNvSpPr txBox="1">
            <a:spLocks/>
          </p:cNvSpPr>
          <p:nvPr userDrawn="1"/>
        </p:nvSpPr>
        <p:spPr>
          <a:xfrm>
            <a:off x="9332686" y="62104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18E881-30FB-451B-BCD4-27C99034D62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2365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Copy (Thre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6C341B-649D-4364-8D26-ECF442AABF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93776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3405A70D-A303-4430-BFE3-179FEFFA329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08764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6A4C870-5FB0-40F9-ACBF-B314B714AE1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123752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32621-08D8-4143-94A1-96F611F4E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9AF46D-EC8C-4799-8268-F914B66AC1F5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B314EC2-65A0-48A9-A282-73C1FA228D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</p:spTree>
    <p:extLst>
      <p:ext uri="{BB962C8B-B14F-4D97-AF65-F5344CB8AC3E}">
        <p14:creationId xmlns:p14="http://schemas.microsoft.com/office/powerpoint/2010/main" val="46686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Weighte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34EAD72-0448-4B6F-86F3-D9B838B95CE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93711" y="1756791"/>
            <a:ext cx="3229589" cy="443204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32621-08D8-4143-94A1-96F611F4E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7" y="642889"/>
            <a:ext cx="320815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EFA500-6C5D-4551-968A-183AAA0CDC6F}"/>
              </a:ext>
            </a:extLst>
          </p:cNvPr>
          <p:cNvCxnSpPr>
            <a:cxnSpLocks/>
          </p:cNvCxnSpPr>
          <p:nvPr/>
        </p:nvCxnSpPr>
        <p:spPr>
          <a:xfrm>
            <a:off x="4308764" y="669163"/>
            <a:ext cx="0" cy="5155563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105E3F98-F8EB-4010-96E1-2DC856BD43CB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029200" y="1322388"/>
            <a:ext cx="6669088" cy="45021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6A4781-F335-4997-B2A3-D4ECEB624912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9F99AE6-DDD6-49D1-8CA7-3B040BD0F32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</p:spTree>
    <p:extLst>
      <p:ext uri="{BB962C8B-B14F-4D97-AF65-F5344CB8AC3E}">
        <p14:creationId xmlns:p14="http://schemas.microsoft.com/office/powerpoint/2010/main" val="4047624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(Single Layou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38D749E-10F3-468F-A695-20684D44BAB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ltGray">
          <a:xfrm>
            <a:off x="1" y="0"/>
            <a:ext cx="10037025" cy="6858000"/>
          </a:xfrm>
          <a:custGeom>
            <a:avLst/>
            <a:gdLst>
              <a:gd name="connsiteX0" fmla="*/ 0 w 10037025"/>
              <a:gd name="connsiteY0" fmla="*/ 0 h 6858000"/>
              <a:gd name="connsiteX1" fmla="*/ 2237 w 10037025"/>
              <a:gd name="connsiteY1" fmla="*/ 0 h 6858000"/>
              <a:gd name="connsiteX2" fmla="*/ 17892 w 10037025"/>
              <a:gd name="connsiteY2" fmla="*/ 0 h 6858000"/>
              <a:gd name="connsiteX3" fmla="*/ 60384 w 10037025"/>
              <a:gd name="connsiteY3" fmla="*/ 0 h 6858000"/>
              <a:gd name="connsiteX4" fmla="*/ 95887 w 10037025"/>
              <a:gd name="connsiteY4" fmla="*/ 0 h 6858000"/>
              <a:gd name="connsiteX5" fmla="*/ 143131 w 10037025"/>
              <a:gd name="connsiteY5" fmla="*/ 0 h 6858000"/>
              <a:gd name="connsiteX6" fmla="*/ 203794 w 10037025"/>
              <a:gd name="connsiteY6" fmla="*/ 0 h 6858000"/>
              <a:gd name="connsiteX7" fmla="*/ 279553 w 10037025"/>
              <a:gd name="connsiteY7" fmla="*/ 0 h 6858000"/>
              <a:gd name="connsiteX8" fmla="*/ 372085 w 10037025"/>
              <a:gd name="connsiteY8" fmla="*/ 0 h 6858000"/>
              <a:gd name="connsiteX9" fmla="*/ 483068 w 10037025"/>
              <a:gd name="connsiteY9" fmla="*/ 0 h 6858000"/>
              <a:gd name="connsiteX10" fmla="*/ 614178 w 10037025"/>
              <a:gd name="connsiteY10" fmla="*/ 0 h 6858000"/>
              <a:gd name="connsiteX11" fmla="*/ 767094 w 10037025"/>
              <a:gd name="connsiteY11" fmla="*/ 0 h 6858000"/>
              <a:gd name="connsiteX12" fmla="*/ 943492 w 10037025"/>
              <a:gd name="connsiteY12" fmla="*/ 0 h 6858000"/>
              <a:gd name="connsiteX13" fmla="*/ 1145050 w 10037025"/>
              <a:gd name="connsiteY13" fmla="*/ 0 h 6858000"/>
              <a:gd name="connsiteX14" fmla="*/ 1373445 w 10037025"/>
              <a:gd name="connsiteY14" fmla="*/ 0 h 6858000"/>
              <a:gd name="connsiteX15" fmla="*/ 1630354 w 10037025"/>
              <a:gd name="connsiteY15" fmla="*/ 0 h 6858000"/>
              <a:gd name="connsiteX16" fmla="*/ 1917455 w 10037025"/>
              <a:gd name="connsiteY16" fmla="*/ 0 h 6858000"/>
              <a:gd name="connsiteX17" fmla="*/ 2236425 w 10037025"/>
              <a:gd name="connsiteY17" fmla="*/ 0 h 6858000"/>
              <a:gd name="connsiteX18" fmla="*/ 2588941 w 10037025"/>
              <a:gd name="connsiteY18" fmla="*/ 0 h 6858000"/>
              <a:gd name="connsiteX19" fmla="*/ 2976682 w 10037025"/>
              <a:gd name="connsiteY19" fmla="*/ 0 h 6858000"/>
              <a:gd name="connsiteX20" fmla="*/ 3401323 w 10037025"/>
              <a:gd name="connsiteY20" fmla="*/ 0 h 6858000"/>
              <a:gd name="connsiteX21" fmla="*/ 3864542 w 10037025"/>
              <a:gd name="connsiteY21" fmla="*/ 0 h 6858000"/>
              <a:gd name="connsiteX22" fmla="*/ 4368018 w 10037025"/>
              <a:gd name="connsiteY22" fmla="*/ 0 h 6858000"/>
              <a:gd name="connsiteX23" fmla="*/ 4913426 w 10037025"/>
              <a:gd name="connsiteY23" fmla="*/ 0 h 6858000"/>
              <a:gd name="connsiteX24" fmla="*/ 5502444 w 10037025"/>
              <a:gd name="connsiteY24" fmla="*/ 0 h 6858000"/>
              <a:gd name="connsiteX25" fmla="*/ 6136750 w 10037025"/>
              <a:gd name="connsiteY25" fmla="*/ 0 h 6858000"/>
              <a:gd name="connsiteX26" fmla="*/ 6818021 w 10037025"/>
              <a:gd name="connsiteY26" fmla="*/ 0 h 6858000"/>
              <a:gd name="connsiteX27" fmla="*/ 7547934 w 10037025"/>
              <a:gd name="connsiteY27" fmla="*/ 0 h 6858000"/>
              <a:gd name="connsiteX28" fmla="*/ 8328167 w 10037025"/>
              <a:gd name="connsiteY28" fmla="*/ 0 h 6858000"/>
              <a:gd name="connsiteX29" fmla="*/ 8737677 w 10037025"/>
              <a:gd name="connsiteY29" fmla="*/ 0 h 6858000"/>
              <a:gd name="connsiteX30" fmla="*/ 9160396 w 10037025"/>
              <a:gd name="connsiteY30" fmla="*/ 0 h 6858000"/>
              <a:gd name="connsiteX31" fmla="*/ 10037025 w 10037025"/>
              <a:gd name="connsiteY31" fmla="*/ 3429000 h 6858000"/>
              <a:gd name="connsiteX32" fmla="*/ 9160396 w 10037025"/>
              <a:gd name="connsiteY32" fmla="*/ 6858000 h 6858000"/>
              <a:gd name="connsiteX33" fmla="*/ 9158160 w 10037025"/>
              <a:gd name="connsiteY33" fmla="*/ 6858000 h 6858000"/>
              <a:gd name="connsiteX34" fmla="*/ 9142505 w 10037025"/>
              <a:gd name="connsiteY34" fmla="*/ 6858000 h 6858000"/>
              <a:gd name="connsiteX35" fmla="*/ 9100012 w 10037025"/>
              <a:gd name="connsiteY35" fmla="*/ 6858000 h 6858000"/>
              <a:gd name="connsiteX36" fmla="*/ 9064509 w 10037025"/>
              <a:gd name="connsiteY36" fmla="*/ 6858000 h 6858000"/>
              <a:gd name="connsiteX37" fmla="*/ 9017265 w 10037025"/>
              <a:gd name="connsiteY37" fmla="*/ 6858000 h 6858000"/>
              <a:gd name="connsiteX38" fmla="*/ 8956602 w 10037025"/>
              <a:gd name="connsiteY38" fmla="*/ 6858000 h 6858000"/>
              <a:gd name="connsiteX39" fmla="*/ 8880843 w 10037025"/>
              <a:gd name="connsiteY39" fmla="*/ 6858000 h 6858000"/>
              <a:gd name="connsiteX40" fmla="*/ 8788311 w 10037025"/>
              <a:gd name="connsiteY40" fmla="*/ 6858000 h 6858000"/>
              <a:gd name="connsiteX41" fmla="*/ 8677328 w 10037025"/>
              <a:gd name="connsiteY41" fmla="*/ 6858000 h 6858000"/>
              <a:gd name="connsiteX42" fmla="*/ 8546218 w 10037025"/>
              <a:gd name="connsiteY42" fmla="*/ 6858000 h 6858000"/>
              <a:gd name="connsiteX43" fmla="*/ 8393302 w 10037025"/>
              <a:gd name="connsiteY43" fmla="*/ 6858000 h 6858000"/>
              <a:gd name="connsiteX44" fmla="*/ 8216905 w 10037025"/>
              <a:gd name="connsiteY44" fmla="*/ 6858000 h 6858000"/>
              <a:gd name="connsiteX45" fmla="*/ 8015347 w 10037025"/>
              <a:gd name="connsiteY45" fmla="*/ 6858000 h 6858000"/>
              <a:gd name="connsiteX46" fmla="*/ 7786952 w 10037025"/>
              <a:gd name="connsiteY46" fmla="*/ 6858000 h 6858000"/>
              <a:gd name="connsiteX47" fmla="*/ 7530043 w 10037025"/>
              <a:gd name="connsiteY47" fmla="*/ 6858000 h 6858000"/>
              <a:gd name="connsiteX48" fmla="*/ 7242942 w 10037025"/>
              <a:gd name="connsiteY48" fmla="*/ 6858000 h 6858000"/>
              <a:gd name="connsiteX49" fmla="*/ 6923972 w 10037025"/>
              <a:gd name="connsiteY49" fmla="*/ 6858000 h 6858000"/>
              <a:gd name="connsiteX50" fmla="*/ 6571455 w 10037025"/>
              <a:gd name="connsiteY50" fmla="*/ 6858000 h 6858000"/>
              <a:gd name="connsiteX51" fmla="*/ 6183715 w 10037025"/>
              <a:gd name="connsiteY51" fmla="*/ 6858000 h 6858000"/>
              <a:gd name="connsiteX52" fmla="*/ 5759074 w 10037025"/>
              <a:gd name="connsiteY52" fmla="*/ 6858000 h 6858000"/>
              <a:gd name="connsiteX53" fmla="*/ 5295854 w 10037025"/>
              <a:gd name="connsiteY53" fmla="*/ 6858000 h 6858000"/>
              <a:gd name="connsiteX54" fmla="*/ 4792379 w 10037025"/>
              <a:gd name="connsiteY54" fmla="*/ 6858000 h 6858000"/>
              <a:gd name="connsiteX55" fmla="*/ 4246971 w 10037025"/>
              <a:gd name="connsiteY55" fmla="*/ 6858000 h 6858000"/>
              <a:gd name="connsiteX56" fmla="*/ 3657953 w 10037025"/>
              <a:gd name="connsiteY56" fmla="*/ 6858000 h 6858000"/>
              <a:gd name="connsiteX57" fmla="*/ 3023647 w 10037025"/>
              <a:gd name="connsiteY57" fmla="*/ 6858000 h 6858000"/>
              <a:gd name="connsiteX58" fmla="*/ 2342376 w 10037025"/>
              <a:gd name="connsiteY58" fmla="*/ 6858000 h 6858000"/>
              <a:gd name="connsiteX59" fmla="*/ 1612463 w 10037025"/>
              <a:gd name="connsiteY59" fmla="*/ 6858000 h 6858000"/>
              <a:gd name="connsiteX60" fmla="*/ 832230 w 10037025"/>
              <a:gd name="connsiteY60" fmla="*/ 6858000 h 6858000"/>
              <a:gd name="connsiteX61" fmla="*/ 422719 w 10037025"/>
              <a:gd name="connsiteY61" fmla="*/ 6858000 h 6858000"/>
              <a:gd name="connsiteX62" fmla="*/ 0 w 10037025"/>
              <a:gd name="connsiteY6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10037025" h="6858000">
                <a:moveTo>
                  <a:pt x="0" y="0"/>
                </a:moveTo>
                <a:lnTo>
                  <a:pt x="2237" y="0"/>
                </a:lnTo>
                <a:lnTo>
                  <a:pt x="17892" y="0"/>
                </a:lnTo>
                <a:lnTo>
                  <a:pt x="60384" y="0"/>
                </a:lnTo>
                <a:lnTo>
                  <a:pt x="95887" y="0"/>
                </a:lnTo>
                <a:lnTo>
                  <a:pt x="143131" y="0"/>
                </a:lnTo>
                <a:lnTo>
                  <a:pt x="203794" y="0"/>
                </a:lnTo>
                <a:lnTo>
                  <a:pt x="279553" y="0"/>
                </a:lnTo>
                <a:lnTo>
                  <a:pt x="372085" y="0"/>
                </a:lnTo>
                <a:lnTo>
                  <a:pt x="483068" y="0"/>
                </a:lnTo>
                <a:lnTo>
                  <a:pt x="614178" y="0"/>
                </a:lnTo>
                <a:lnTo>
                  <a:pt x="767094" y="0"/>
                </a:lnTo>
                <a:lnTo>
                  <a:pt x="943492" y="0"/>
                </a:lnTo>
                <a:lnTo>
                  <a:pt x="1145050" y="0"/>
                </a:lnTo>
                <a:lnTo>
                  <a:pt x="1373445" y="0"/>
                </a:lnTo>
                <a:lnTo>
                  <a:pt x="1630354" y="0"/>
                </a:lnTo>
                <a:lnTo>
                  <a:pt x="1917455" y="0"/>
                </a:lnTo>
                <a:lnTo>
                  <a:pt x="2236425" y="0"/>
                </a:lnTo>
                <a:lnTo>
                  <a:pt x="2588941" y="0"/>
                </a:lnTo>
                <a:lnTo>
                  <a:pt x="2976682" y="0"/>
                </a:lnTo>
                <a:lnTo>
                  <a:pt x="3401323" y="0"/>
                </a:lnTo>
                <a:lnTo>
                  <a:pt x="3864542" y="0"/>
                </a:lnTo>
                <a:lnTo>
                  <a:pt x="4368018" y="0"/>
                </a:lnTo>
                <a:lnTo>
                  <a:pt x="4913426" y="0"/>
                </a:lnTo>
                <a:lnTo>
                  <a:pt x="5502444" y="0"/>
                </a:lnTo>
                <a:lnTo>
                  <a:pt x="6136750" y="0"/>
                </a:lnTo>
                <a:lnTo>
                  <a:pt x="6818021" y="0"/>
                </a:lnTo>
                <a:lnTo>
                  <a:pt x="7547934" y="0"/>
                </a:lnTo>
                <a:lnTo>
                  <a:pt x="8328167" y="0"/>
                </a:lnTo>
                <a:lnTo>
                  <a:pt x="8737677" y="0"/>
                </a:lnTo>
                <a:lnTo>
                  <a:pt x="9160396" y="0"/>
                </a:lnTo>
                <a:cubicBezTo>
                  <a:pt x="9719106" y="1018571"/>
                  <a:pt x="10037025" y="2187207"/>
                  <a:pt x="10037025" y="3429000"/>
                </a:cubicBezTo>
                <a:cubicBezTo>
                  <a:pt x="10037025" y="4671731"/>
                  <a:pt x="9719106" y="5839430"/>
                  <a:pt x="9160396" y="6858000"/>
                </a:cubicBezTo>
                <a:lnTo>
                  <a:pt x="9158160" y="6858000"/>
                </a:lnTo>
                <a:lnTo>
                  <a:pt x="9142505" y="6858000"/>
                </a:lnTo>
                <a:lnTo>
                  <a:pt x="9100012" y="6858000"/>
                </a:lnTo>
                <a:lnTo>
                  <a:pt x="9064509" y="6858000"/>
                </a:lnTo>
                <a:lnTo>
                  <a:pt x="9017265" y="6858000"/>
                </a:lnTo>
                <a:lnTo>
                  <a:pt x="8956602" y="6858000"/>
                </a:lnTo>
                <a:lnTo>
                  <a:pt x="8880843" y="6858000"/>
                </a:lnTo>
                <a:lnTo>
                  <a:pt x="8788311" y="6858000"/>
                </a:lnTo>
                <a:lnTo>
                  <a:pt x="8677328" y="6858000"/>
                </a:lnTo>
                <a:lnTo>
                  <a:pt x="8546218" y="6858000"/>
                </a:lnTo>
                <a:lnTo>
                  <a:pt x="8393302" y="6858000"/>
                </a:lnTo>
                <a:lnTo>
                  <a:pt x="8216905" y="6858000"/>
                </a:lnTo>
                <a:lnTo>
                  <a:pt x="8015347" y="6858000"/>
                </a:lnTo>
                <a:lnTo>
                  <a:pt x="7786952" y="6858000"/>
                </a:lnTo>
                <a:lnTo>
                  <a:pt x="7530043" y="6858000"/>
                </a:lnTo>
                <a:lnTo>
                  <a:pt x="7242942" y="6858000"/>
                </a:lnTo>
                <a:lnTo>
                  <a:pt x="6923972" y="6858000"/>
                </a:lnTo>
                <a:lnTo>
                  <a:pt x="6571455" y="6858000"/>
                </a:lnTo>
                <a:lnTo>
                  <a:pt x="6183715" y="6858000"/>
                </a:lnTo>
                <a:lnTo>
                  <a:pt x="5759074" y="6858000"/>
                </a:lnTo>
                <a:lnTo>
                  <a:pt x="5295854" y="6858000"/>
                </a:lnTo>
                <a:lnTo>
                  <a:pt x="4792379" y="6858000"/>
                </a:lnTo>
                <a:lnTo>
                  <a:pt x="4246971" y="6858000"/>
                </a:lnTo>
                <a:lnTo>
                  <a:pt x="3657953" y="6858000"/>
                </a:lnTo>
                <a:lnTo>
                  <a:pt x="3023647" y="6858000"/>
                </a:lnTo>
                <a:lnTo>
                  <a:pt x="2342376" y="6858000"/>
                </a:lnTo>
                <a:lnTo>
                  <a:pt x="1612463" y="6858000"/>
                </a:lnTo>
                <a:lnTo>
                  <a:pt x="832230" y="6858000"/>
                </a:lnTo>
                <a:lnTo>
                  <a:pt x="42271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C370884F-6311-49C2-8806-A75B8B32042D}"/>
              </a:ext>
            </a:extLst>
          </p:cNvPr>
          <p:cNvSpPr>
            <a:spLocks/>
          </p:cNvSpPr>
          <p:nvPr/>
        </p:nvSpPr>
        <p:spPr bwMode="auto">
          <a:xfrm>
            <a:off x="0" y="0"/>
            <a:ext cx="10029017" cy="6852528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ln>
            <a:noFill/>
          </a:ln>
        </p:spPr>
        <p:txBody>
          <a:bodyPr vert="horz" lIns="0" tIns="0" rIns="0" bIns="0" rtlCol="0">
            <a:noAutofit/>
          </a:bodyPr>
          <a:lstStyle/>
          <a:p>
            <a:pPr lvl="0" indent="0" eaLnBrk="0" fontAlgn="base" hangingPunct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​"/>
            </a:pPr>
            <a:endParaRPr lang="en-US" sz="2000" b="0">
              <a:solidFill>
                <a:schemeClr val="tx1">
                  <a:lumMod val="65000"/>
                  <a:lumOff val="3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  <a:sym typeface="Proxima Nova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8629D78-F573-4D41-A217-4A90EC9145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91781" y="6087872"/>
            <a:ext cx="1308671" cy="438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2193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(Single Lef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29A41F1-58BA-49CE-9836-9967CA8735F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1" y="0"/>
            <a:ext cx="6095999" cy="6858000"/>
          </a:xfrm>
          <a:custGeom>
            <a:avLst/>
            <a:gdLst>
              <a:gd name="connsiteX0" fmla="*/ 0 w 6095999"/>
              <a:gd name="connsiteY0" fmla="*/ 0 h 6858000"/>
              <a:gd name="connsiteX1" fmla="*/ 2237 w 6095999"/>
              <a:gd name="connsiteY1" fmla="*/ 0 h 6858000"/>
              <a:gd name="connsiteX2" fmla="*/ 17892 w 6095999"/>
              <a:gd name="connsiteY2" fmla="*/ 0 h 6858000"/>
              <a:gd name="connsiteX3" fmla="*/ 60384 w 6095999"/>
              <a:gd name="connsiteY3" fmla="*/ 0 h 6858000"/>
              <a:gd name="connsiteX4" fmla="*/ 95887 w 6095999"/>
              <a:gd name="connsiteY4" fmla="*/ 0 h 6858000"/>
              <a:gd name="connsiteX5" fmla="*/ 143131 w 6095999"/>
              <a:gd name="connsiteY5" fmla="*/ 0 h 6858000"/>
              <a:gd name="connsiteX6" fmla="*/ 203794 w 6095999"/>
              <a:gd name="connsiteY6" fmla="*/ 0 h 6858000"/>
              <a:gd name="connsiteX7" fmla="*/ 279553 w 6095999"/>
              <a:gd name="connsiteY7" fmla="*/ 0 h 6858000"/>
              <a:gd name="connsiteX8" fmla="*/ 372085 w 6095999"/>
              <a:gd name="connsiteY8" fmla="*/ 0 h 6858000"/>
              <a:gd name="connsiteX9" fmla="*/ 426992 w 6095999"/>
              <a:gd name="connsiteY9" fmla="*/ 0 h 6858000"/>
              <a:gd name="connsiteX10" fmla="*/ 483068 w 6095999"/>
              <a:gd name="connsiteY10" fmla="*/ 0 h 6858000"/>
              <a:gd name="connsiteX11" fmla="*/ 614178 w 6095999"/>
              <a:gd name="connsiteY11" fmla="*/ 0 h 6858000"/>
              <a:gd name="connsiteX12" fmla="*/ 767094 w 6095999"/>
              <a:gd name="connsiteY12" fmla="*/ 0 h 6858000"/>
              <a:gd name="connsiteX13" fmla="*/ 943492 w 6095999"/>
              <a:gd name="connsiteY13" fmla="*/ 0 h 6858000"/>
              <a:gd name="connsiteX14" fmla="*/ 972400 w 6095999"/>
              <a:gd name="connsiteY14" fmla="*/ 0 h 6858000"/>
              <a:gd name="connsiteX15" fmla="*/ 1145050 w 6095999"/>
              <a:gd name="connsiteY15" fmla="*/ 0 h 6858000"/>
              <a:gd name="connsiteX16" fmla="*/ 1373445 w 6095999"/>
              <a:gd name="connsiteY16" fmla="*/ 0 h 6858000"/>
              <a:gd name="connsiteX17" fmla="*/ 1561418 w 6095999"/>
              <a:gd name="connsiteY17" fmla="*/ 0 h 6858000"/>
              <a:gd name="connsiteX18" fmla="*/ 1630354 w 6095999"/>
              <a:gd name="connsiteY18" fmla="*/ 0 h 6858000"/>
              <a:gd name="connsiteX19" fmla="*/ 1917455 w 6095999"/>
              <a:gd name="connsiteY19" fmla="*/ 0 h 6858000"/>
              <a:gd name="connsiteX20" fmla="*/ 2195724 w 6095999"/>
              <a:gd name="connsiteY20" fmla="*/ 0 h 6858000"/>
              <a:gd name="connsiteX21" fmla="*/ 2236425 w 6095999"/>
              <a:gd name="connsiteY21" fmla="*/ 0 h 6858000"/>
              <a:gd name="connsiteX22" fmla="*/ 2588941 w 6095999"/>
              <a:gd name="connsiteY22" fmla="*/ 0 h 6858000"/>
              <a:gd name="connsiteX23" fmla="*/ 2876995 w 6095999"/>
              <a:gd name="connsiteY23" fmla="*/ 0 h 6858000"/>
              <a:gd name="connsiteX24" fmla="*/ 2976682 w 6095999"/>
              <a:gd name="connsiteY24" fmla="*/ 0 h 6858000"/>
              <a:gd name="connsiteX25" fmla="*/ 3401323 w 6095999"/>
              <a:gd name="connsiteY25" fmla="*/ 0 h 6858000"/>
              <a:gd name="connsiteX26" fmla="*/ 3606908 w 6095999"/>
              <a:gd name="connsiteY26" fmla="*/ 0 h 6858000"/>
              <a:gd name="connsiteX27" fmla="*/ 3864542 w 6095999"/>
              <a:gd name="connsiteY27" fmla="*/ 0 h 6858000"/>
              <a:gd name="connsiteX28" fmla="*/ 4368018 w 6095999"/>
              <a:gd name="connsiteY28" fmla="*/ 0 h 6858000"/>
              <a:gd name="connsiteX29" fmla="*/ 4387141 w 6095999"/>
              <a:gd name="connsiteY29" fmla="*/ 0 h 6858000"/>
              <a:gd name="connsiteX30" fmla="*/ 4796651 w 6095999"/>
              <a:gd name="connsiteY30" fmla="*/ 0 h 6858000"/>
              <a:gd name="connsiteX31" fmla="*/ 4913426 w 6095999"/>
              <a:gd name="connsiteY31" fmla="*/ 0 h 6858000"/>
              <a:gd name="connsiteX32" fmla="*/ 5219370 w 6095999"/>
              <a:gd name="connsiteY32" fmla="*/ 0 h 6858000"/>
              <a:gd name="connsiteX33" fmla="*/ 6095999 w 6095999"/>
              <a:gd name="connsiteY33" fmla="*/ 3429000 h 6858000"/>
              <a:gd name="connsiteX34" fmla="*/ 5219370 w 6095999"/>
              <a:gd name="connsiteY34" fmla="*/ 6858000 h 6858000"/>
              <a:gd name="connsiteX35" fmla="*/ 5217134 w 6095999"/>
              <a:gd name="connsiteY35" fmla="*/ 6858000 h 6858000"/>
              <a:gd name="connsiteX36" fmla="*/ 5201479 w 6095999"/>
              <a:gd name="connsiteY36" fmla="*/ 6858000 h 6858000"/>
              <a:gd name="connsiteX37" fmla="*/ 5158986 w 6095999"/>
              <a:gd name="connsiteY37" fmla="*/ 6858000 h 6858000"/>
              <a:gd name="connsiteX38" fmla="*/ 5123483 w 6095999"/>
              <a:gd name="connsiteY38" fmla="*/ 6858000 h 6858000"/>
              <a:gd name="connsiteX39" fmla="*/ 5076239 w 6095999"/>
              <a:gd name="connsiteY39" fmla="*/ 6858000 h 6858000"/>
              <a:gd name="connsiteX40" fmla="*/ 5015576 w 6095999"/>
              <a:gd name="connsiteY40" fmla="*/ 6858000 h 6858000"/>
              <a:gd name="connsiteX41" fmla="*/ 4939817 w 6095999"/>
              <a:gd name="connsiteY41" fmla="*/ 6858000 h 6858000"/>
              <a:gd name="connsiteX42" fmla="*/ 4847285 w 6095999"/>
              <a:gd name="connsiteY42" fmla="*/ 6858000 h 6858000"/>
              <a:gd name="connsiteX43" fmla="*/ 4792379 w 6095999"/>
              <a:gd name="connsiteY43" fmla="*/ 6858000 h 6858000"/>
              <a:gd name="connsiteX44" fmla="*/ 4736302 w 6095999"/>
              <a:gd name="connsiteY44" fmla="*/ 6858000 h 6858000"/>
              <a:gd name="connsiteX45" fmla="*/ 4605192 w 6095999"/>
              <a:gd name="connsiteY45" fmla="*/ 6858000 h 6858000"/>
              <a:gd name="connsiteX46" fmla="*/ 4452276 w 6095999"/>
              <a:gd name="connsiteY46" fmla="*/ 6858000 h 6858000"/>
              <a:gd name="connsiteX47" fmla="*/ 4275879 w 6095999"/>
              <a:gd name="connsiteY47" fmla="*/ 6858000 h 6858000"/>
              <a:gd name="connsiteX48" fmla="*/ 4246971 w 6095999"/>
              <a:gd name="connsiteY48" fmla="*/ 6858000 h 6858000"/>
              <a:gd name="connsiteX49" fmla="*/ 4074321 w 6095999"/>
              <a:gd name="connsiteY49" fmla="*/ 6858000 h 6858000"/>
              <a:gd name="connsiteX50" fmla="*/ 3845926 w 6095999"/>
              <a:gd name="connsiteY50" fmla="*/ 6858000 h 6858000"/>
              <a:gd name="connsiteX51" fmla="*/ 3657953 w 6095999"/>
              <a:gd name="connsiteY51" fmla="*/ 6858000 h 6858000"/>
              <a:gd name="connsiteX52" fmla="*/ 3589017 w 6095999"/>
              <a:gd name="connsiteY52" fmla="*/ 6858000 h 6858000"/>
              <a:gd name="connsiteX53" fmla="*/ 3301916 w 6095999"/>
              <a:gd name="connsiteY53" fmla="*/ 6858000 h 6858000"/>
              <a:gd name="connsiteX54" fmla="*/ 3023647 w 6095999"/>
              <a:gd name="connsiteY54" fmla="*/ 6858000 h 6858000"/>
              <a:gd name="connsiteX55" fmla="*/ 2982946 w 6095999"/>
              <a:gd name="connsiteY55" fmla="*/ 6858000 h 6858000"/>
              <a:gd name="connsiteX56" fmla="*/ 2630429 w 6095999"/>
              <a:gd name="connsiteY56" fmla="*/ 6858000 h 6858000"/>
              <a:gd name="connsiteX57" fmla="*/ 2342376 w 6095999"/>
              <a:gd name="connsiteY57" fmla="*/ 6858000 h 6858000"/>
              <a:gd name="connsiteX58" fmla="*/ 2242689 w 6095999"/>
              <a:gd name="connsiteY58" fmla="*/ 6858000 h 6858000"/>
              <a:gd name="connsiteX59" fmla="*/ 1818048 w 6095999"/>
              <a:gd name="connsiteY59" fmla="*/ 6858000 h 6858000"/>
              <a:gd name="connsiteX60" fmla="*/ 1612463 w 6095999"/>
              <a:gd name="connsiteY60" fmla="*/ 6858000 h 6858000"/>
              <a:gd name="connsiteX61" fmla="*/ 1354828 w 6095999"/>
              <a:gd name="connsiteY61" fmla="*/ 6858000 h 6858000"/>
              <a:gd name="connsiteX62" fmla="*/ 851353 w 6095999"/>
              <a:gd name="connsiteY62" fmla="*/ 6858000 h 6858000"/>
              <a:gd name="connsiteX63" fmla="*/ 832230 w 6095999"/>
              <a:gd name="connsiteY63" fmla="*/ 6858000 h 6858000"/>
              <a:gd name="connsiteX64" fmla="*/ 422719 w 6095999"/>
              <a:gd name="connsiteY64" fmla="*/ 6858000 h 6858000"/>
              <a:gd name="connsiteX65" fmla="*/ 305945 w 6095999"/>
              <a:gd name="connsiteY65" fmla="*/ 6858000 h 6858000"/>
              <a:gd name="connsiteX66" fmla="*/ 0 w 6095999"/>
              <a:gd name="connsiteY6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</a:cxnLst>
            <a:rect l="l" t="t" r="r" b="b"/>
            <a:pathLst>
              <a:path w="6095999" h="6858000">
                <a:moveTo>
                  <a:pt x="0" y="0"/>
                </a:moveTo>
                <a:lnTo>
                  <a:pt x="2237" y="0"/>
                </a:lnTo>
                <a:lnTo>
                  <a:pt x="17892" y="0"/>
                </a:lnTo>
                <a:lnTo>
                  <a:pt x="60384" y="0"/>
                </a:lnTo>
                <a:lnTo>
                  <a:pt x="95887" y="0"/>
                </a:lnTo>
                <a:lnTo>
                  <a:pt x="143131" y="0"/>
                </a:lnTo>
                <a:lnTo>
                  <a:pt x="203794" y="0"/>
                </a:lnTo>
                <a:lnTo>
                  <a:pt x="279553" y="0"/>
                </a:lnTo>
                <a:lnTo>
                  <a:pt x="372085" y="0"/>
                </a:lnTo>
                <a:lnTo>
                  <a:pt x="426992" y="0"/>
                </a:lnTo>
                <a:lnTo>
                  <a:pt x="483068" y="0"/>
                </a:lnTo>
                <a:lnTo>
                  <a:pt x="614178" y="0"/>
                </a:lnTo>
                <a:lnTo>
                  <a:pt x="767094" y="0"/>
                </a:lnTo>
                <a:lnTo>
                  <a:pt x="943492" y="0"/>
                </a:lnTo>
                <a:lnTo>
                  <a:pt x="972400" y="0"/>
                </a:lnTo>
                <a:lnTo>
                  <a:pt x="1145050" y="0"/>
                </a:lnTo>
                <a:lnTo>
                  <a:pt x="1373445" y="0"/>
                </a:lnTo>
                <a:lnTo>
                  <a:pt x="1561418" y="0"/>
                </a:lnTo>
                <a:lnTo>
                  <a:pt x="1630354" y="0"/>
                </a:lnTo>
                <a:lnTo>
                  <a:pt x="1917455" y="0"/>
                </a:lnTo>
                <a:lnTo>
                  <a:pt x="2195724" y="0"/>
                </a:lnTo>
                <a:lnTo>
                  <a:pt x="2236425" y="0"/>
                </a:lnTo>
                <a:lnTo>
                  <a:pt x="2588941" y="0"/>
                </a:lnTo>
                <a:lnTo>
                  <a:pt x="2876995" y="0"/>
                </a:lnTo>
                <a:lnTo>
                  <a:pt x="2976682" y="0"/>
                </a:lnTo>
                <a:lnTo>
                  <a:pt x="3401323" y="0"/>
                </a:lnTo>
                <a:lnTo>
                  <a:pt x="3606908" y="0"/>
                </a:lnTo>
                <a:lnTo>
                  <a:pt x="3864542" y="0"/>
                </a:lnTo>
                <a:lnTo>
                  <a:pt x="4368018" y="0"/>
                </a:lnTo>
                <a:lnTo>
                  <a:pt x="4387141" y="0"/>
                </a:lnTo>
                <a:lnTo>
                  <a:pt x="4796651" y="0"/>
                </a:lnTo>
                <a:lnTo>
                  <a:pt x="4913426" y="0"/>
                </a:lnTo>
                <a:lnTo>
                  <a:pt x="5219370" y="0"/>
                </a:lnTo>
                <a:cubicBezTo>
                  <a:pt x="5778080" y="1018571"/>
                  <a:pt x="6095999" y="2187207"/>
                  <a:pt x="6095999" y="3429000"/>
                </a:cubicBezTo>
                <a:cubicBezTo>
                  <a:pt x="6095999" y="4671731"/>
                  <a:pt x="5778080" y="5839430"/>
                  <a:pt x="5219370" y="6858000"/>
                </a:cubicBezTo>
                <a:lnTo>
                  <a:pt x="5217134" y="6858000"/>
                </a:lnTo>
                <a:lnTo>
                  <a:pt x="5201479" y="6858000"/>
                </a:lnTo>
                <a:lnTo>
                  <a:pt x="5158986" y="6858000"/>
                </a:lnTo>
                <a:lnTo>
                  <a:pt x="5123483" y="6858000"/>
                </a:lnTo>
                <a:lnTo>
                  <a:pt x="5076239" y="6858000"/>
                </a:lnTo>
                <a:lnTo>
                  <a:pt x="5015576" y="6858000"/>
                </a:lnTo>
                <a:lnTo>
                  <a:pt x="4939817" y="6858000"/>
                </a:lnTo>
                <a:lnTo>
                  <a:pt x="4847285" y="6858000"/>
                </a:lnTo>
                <a:lnTo>
                  <a:pt x="4792379" y="6858000"/>
                </a:lnTo>
                <a:lnTo>
                  <a:pt x="4736302" y="6858000"/>
                </a:lnTo>
                <a:lnTo>
                  <a:pt x="4605192" y="6858000"/>
                </a:lnTo>
                <a:lnTo>
                  <a:pt x="4452276" y="6858000"/>
                </a:lnTo>
                <a:lnTo>
                  <a:pt x="4275879" y="6858000"/>
                </a:lnTo>
                <a:lnTo>
                  <a:pt x="4246971" y="6858000"/>
                </a:lnTo>
                <a:lnTo>
                  <a:pt x="4074321" y="6858000"/>
                </a:lnTo>
                <a:lnTo>
                  <a:pt x="3845926" y="6858000"/>
                </a:lnTo>
                <a:lnTo>
                  <a:pt x="3657953" y="6858000"/>
                </a:lnTo>
                <a:lnTo>
                  <a:pt x="3589017" y="6858000"/>
                </a:lnTo>
                <a:lnTo>
                  <a:pt x="3301916" y="6858000"/>
                </a:lnTo>
                <a:lnTo>
                  <a:pt x="3023647" y="6858000"/>
                </a:lnTo>
                <a:lnTo>
                  <a:pt x="2982946" y="6858000"/>
                </a:lnTo>
                <a:lnTo>
                  <a:pt x="2630429" y="6858000"/>
                </a:lnTo>
                <a:lnTo>
                  <a:pt x="2342376" y="6858000"/>
                </a:lnTo>
                <a:lnTo>
                  <a:pt x="2242689" y="6858000"/>
                </a:lnTo>
                <a:lnTo>
                  <a:pt x="1818048" y="6858000"/>
                </a:lnTo>
                <a:lnTo>
                  <a:pt x="1612463" y="6858000"/>
                </a:lnTo>
                <a:lnTo>
                  <a:pt x="1354828" y="6858000"/>
                </a:lnTo>
                <a:lnTo>
                  <a:pt x="851353" y="6858000"/>
                </a:lnTo>
                <a:lnTo>
                  <a:pt x="832230" y="6858000"/>
                </a:lnTo>
                <a:lnTo>
                  <a:pt x="422719" y="6858000"/>
                </a:lnTo>
                <a:lnTo>
                  <a:pt x="30594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147AB574-A04B-4C82-AD7B-EF95AA3005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31000" y="1321710"/>
            <a:ext cx="4967224" cy="485505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009DFF-4241-4740-ABFB-69F34CB90D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1000" y="167677"/>
            <a:ext cx="496722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</p:spTree>
    <p:extLst>
      <p:ext uri="{BB962C8B-B14F-4D97-AF65-F5344CB8AC3E}">
        <p14:creationId xmlns:p14="http://schemas.microsoft.com/office/powerpoint/2010/main" val="3274725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(Single Righ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147AB574-A04B-4C82-AD7B-EF95AA3005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776" y="1321710"/>
            <a:ext cx="4967224" cy="485505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009DFF-4241-4740-ABFB-69F34CB90D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496722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919739B-51A2-4ADE-AAB0-76FE3337933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ltGray">
          <a:xfrm>
            <a:off x="6096001" y="0"/>
            <a:ext cx="6096001" cy="6858000"/>
          </a:xfrm>
          <a:custGeom>
            <a:avLst/>
            <a:gdLst>
              <a:gd name="connsiteX0" fmla="*/ 876629 w 6096001"/>
              <a:gd name="connsiteY0" fmla="*/ 0 h 6858000"/>
              <a:gd name="connsiteX1" fmla="*/ 1299348 w 6096001"/>
              <a:gd name="connsiteY1" fmla="*/ 0 h 6858000"/>
              <a:gd name="connsiteX2" fmla="*/ 1708858 w 6096001"/>
              <a:gd name="connsiteY2" fmla="*/ 0 h 6858000"/>
              <a:gd name="connsiteX3" fmla="*/ 2489091 w 6096001"/>
              <a:gd name="connsiteY3" fmla="*/ 0 h 6858000"/>
              <a:gd name="connsiteX4" fmla="*/ 3219004 w 6096001"/>
              <a:gd name="connsiteY4" fmla="*/ 0 h 6858000"/>
              <a:gd name="connsiteX5" fmla="*/ 3900275 w 6096001"/>
              <a:gd name="connsiteY5" fmla="*/ 0 h 6858000"/>
              <a:gd name="connsiteX6" fmla="*/ 4534581 w 6096001"/>
              <a:gd name="connsiteY6" fmla="*/ 0 h 6858000"/>
              <a:gd name="connsiteX7" fmla="*/ 5123599 w 6096001"/>
              <a:gd name="connsiteY7" fmla="*/ 0 h 6858000"/>
              <a:gd name="connsiteX8" fmla="*/ 5669007 w 6096001"/>
              <a:gd name="connsiteY8" fmla="*/ 0 h 6858000"/>
              <a:gd name="connsiteX9" fmla="*/ 6096001 w 6096001"/>
              <a:gd name="connsiteY9" fmla="*/ 0 h 6858000"/>
              <a:gd name="connsiteX10" fmla="*/ 6096001 w 6096001"/>
              <a:gd name="connsiteY10" fmla="*/ 6858000 h 6858000"/>
              <a:gd name="connsiteX11" fmla="*/ 5790054 w 6096001"/>
              <a:gd name="connsiteY11" fmla="*/ 6858000 h 6858000"/>
              <a:gd name="connsiteX12" fmla="*/ 5244646 w 6096001"/>
              <a:gd name="connsiteY12" fmla="*/ 6858000 h 6858000"/>
              <a:gd name="connsiteX13" fmla="*/ 4741171 w 6096001"/>
              <a:gd name="connsiteY13" fmla="*/ 6858000 h 6858000"/>
              <a:gd name="connsiteX14" fmla="*/ 4277951 w 6096001"/>
              <a:gd name="connsiteY14" fmla="*/ 6858000 h 6858000"/>
              <a:gd name="connsiteX15" fmla="*/ 3853310 w 6096001"/>
              <a:gd name="connsiteY15" fmla="*/ 6858000 h 6858000"/>
              <a:gd name="connsiteX16" fmla="*/ 3465570 w 6096001"/>
              <a:gd name="connsiteY16" fmla="*/ 6858000 h 6858000"/>
              <a:gd name="connsiteX17" fmla="*/ 3113053 w 6096001"/>
              <a:gd name="connsiteY17" fmla="*/ 6858000 h 6858000"/>
              <a:gd name="connsiteX18" fmla="*/ 2794083 w 6096001"/>
              <a:gd name="connsiteY18" fmla="*/ 6858000 h 6858000"/>
              <a:gd name="connsiteX19" fmla="*/ 2506982 w 6096001"/>
              <a:gd name="connsiteY19" fmla="*/ 6858000 h 6858000"/>
              <a:gd name="connsiteX20" fmla="*/ 2250073 w 6096001"/>
              <a:gd name="connsiteY20" fmla="*/ 6858000 h 6858000"/>
              <a:gd name="connsiteX21" fmla="*/ 2021678 w 6096001"/>
              <a:gd name="connsiteY21" fmla="*/ 6858000 h 6858000"/>
              <a:gd name="connsiteX22" fmla="*/ 1820120 w 6096001"/>
              <a:gd name="connsiteY22" fmla="*/ 6858000 h 6858000"/>
              <a:gd name="connsiteX23" fmla="*/ 1643723 w 6096001"/>
              <a:gd name="connsiteY23" fmla="*/ 6858000 h 6858000"/>
              <a:gd name="connsiteX24" fmla="*/ 1490807 w 6096001"/>
              <a:gd name="connsiteY24" fmla="*/ 6858000 h 6858000"/>
              <a:gd name="connsiteX25" fmla="*/ 1359697 w 6096001"/>
              <a:gd name="connsiteY25" fmla="*/ 6858000 h 6858000"/>
              <a:gd name="connsiteX26" fmla="*/ 1248714 w 6096001"/>
              <a:gd name="connsiteY26" fmla="*/ 6858000 h 6858000"/>
              <a:gd name="connsiteX27" fmla="*/ 1156182 w 6096001"/>
              <a:gd name="connsiteY27" fmla="*/ 6858000 h 6858000"/>
              <a:gd name="connsiteX28" fmla="*/ 1080423 w 6096001"/>
              <a:gd name="connsiteY28" fmla="*/ 6858000 h 6858000"/>
              <a:gd name="connsiteX29" fmla="*/ 1019760 w 6096001"/>
              <a:gd name="connsiteY29" fmla="*/ 6858000 h 6858000"/>
              <a:gd name="connsiteX30" fmla="*/ 972516 w 6096001"/>
              <a:gd name="connsiteY30" fmla="*/ 6858000 h 6858000"/>
              <a:gd name="connsiteX31" fmla="*/ 937013 w 6096001"/>
              <a:gd name="connsiteY31" fmla="*/ 6858000 h 6858000"/>
              <a:gd name="connsiteX32" fmla="*/ 894520 w 6096001"/>
              <a:gd name="connsiteY32" fmla="*/ 6858000 h 6858000"/>
              <a:gd name="connsiteX33" fmla="*/ 878865 w 6096001"/>
              <a:gd name="connsiteY33" fmla="*/ 6858000 h 6858000"/>
              <a:gd name="connsiteX34" fmla="*/ 876629 w 6096001"/>
              <a:gd name="connsiteY34" fmla="*/ 6858000 h 6858000"/>
              <a:gd name="connsiteX35" fmla="*/ 0 w 6096001"/>
              <a:gd name="connsiteY35" fmla="*/ 3429000 h 6858000"/>
              <a:gd name="connsiteX36" fmla="*/ 876629 w 6096001"/>
              <a:gd name="connsiteY3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6096001" h="6858000">
                <a:moveTo>
                  <a:pt x="876629" y="0"/>
                </a:moveTo>
                <a:lnTo>
                  <a:pt x="1299348" y="0"/>
                </a:lnTo>
                <a:lnTo>
                  <a:pt x="1708858" y="0"/>
                </a:lnTo>
                <a:lnTo>
                  <a:pt x="2489091" y="0"/>
                </a:lnTo>
                <a:lnTo>
                  <a:pt x="3219004" y="0"/>
                </a:lnTo>
                <a:lnTo>
                  <a:pt x="3900275" y="0"/>
                </a:lnTo>
                <a:lnTo>
                  <a:pt x="4534581" y="0"/>
                </a:lnTo>
                <a:lnTo>
                  <a:pt x="5123599" y="0"/>
                </a:lnTo>
                <a:lnTo>
                  <a:pt x="5669007" y="0"/>
                </a:lnTo>
                <a:lnTo>
                  <a:pt x="6096001" y="0"/>
                </a:lnTo>
                <a:lnTo>
                  <a:pt x="6096001" y="6858000"/>
                </a:lnTo>
                <a:lnTo>
                  <a:pt x="5790054" y="6858000"/>
                </a:lnTo>
                <a:lnTo>
                  <a:pt x="5244646" y="6858000"/>
                </a:lnTo>
                <a:lnTo>
                  <a:pt x="4741171" y="6858000"/>
                </a:lnTo>
                <a:lnTo>
                  <a:pt x="4277951" y="6858000"/>
                </a:lnTo>
                <a:lnTo>
                  <a:pt x="3853310" y="6858000"/>
                </a:lnTo>
                <a:lnTo>
                  <a:pt x="3465570" y="6858000"/>
                </a:lnTo>
                <a:lnTo>
                  <a:pt x="3113053" y="6858000"/>
                </a:lnTo>
                <a:lnTo>
                  <a:pt x="2794083" y="6858000"/>
                </a:lnTo>
                <a:lnTo>
                  <a:pt x="2506982" y="6858000"/>
                </a:lnTo>
                <a:lnTo>
                  <a:pt x="2250073" y="6858000"/>
                </a:lnTo>
                <a:lnTo>
                  <a:pt x="2021678" y="6858000"/>
                </a:lnTo>
                <a:lnTo>
                  <a:pt x="1820120" y="6858000"/>
                </a:lnTo>
                <a:lnTo>
                  <a:pt x="1643723" y="6858000"/>
                </a:lnTo>
                <a:lnTo>
                  <a:pt x="1490807" y="6858000"/>
                </a:lnTo>
                <a:lnTo>
                  <a:pt x="1359697" y="6858000"/>
                </a:lnTo>
                <a:lnTo>
                  <a:pt x="1248714" y="6858000"/>
                </a:lnTo>
                <a:lnTo>
                  <a:pt x="1156182" y="6858000"/>
                </a:lnTo>
                <a:lnTo>
                  <a:pt x="1080423" y="6858000"/>
                </a:lnTo>
                <a:lnTo>
                  <a:pt x="1019760" y="6858000"/>
                </a:lnTo>
                <a:lnTo>
                  <a:pt x="972516" y="6858000"/>
                </a:lnTo>
                <a:lnTo>
                  <a:pt x="937013" y="6858000"/>
                </a:lnTo>
                <a:lnTo>
                  <a:pt x="894520" y="6858000"/>
                </a:lnTo>
                <a:lnTo>
                  <a:pt x="878865" y="6858000"/>
                </a:lnTo>
                <a:lnTo>
                  <a:pt x="876629" y="6858000"/>
                </a:lnTo>
                <a:cubicBezTo>
                  <a:pt x="317919" y="5839430"/>
                  <a:pt x="0" y="4671731"/>
                  <a:pt x="0" y="3429000"/>
                </a:cubicBezTo>
                <a:cubicBezTo>
                  <a:pt x="0" y="2187207"/>
                  <a:pt x="317919" y="1018571"/>
                  <a:pt x="876629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vert="horz" wrap="square" lIns="1005840" tIns="0" rIns="0" bIns="0" rtlCol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016209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(Multi Layou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6F15D45E-1A29-46E9-B58E-872FED8D000F}"/>
              </a:ext>
            </a:extLst>
          </p:cNvPr>
          <p:cNvSpPr/>
          <p:nvPr/>
        </p:nvSpPr>
        <p:spPr bwMode="ltGray">
          <a:xfrm>
            <a:off x="742098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>
              <a:sym typeface="Proxima Nova Light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F681DC18-66F7-491B-8089-60DD8E1AB1AA}"/>
              </a:ext>
            </a:extLst>
          </p:cNvPr>
          <p:cNvSpPr/>
          <p:nvPr/>
        </p:nvSpPr>
        <p:spPr bwMode="ltGray">
          <a:xfrm>
            <a:off x="4555746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>
              <a:sym typeface="Proxima Nova Light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75A85B8-9A99-4F3C-933A-121390A9334B}"/>
              </a:ext>
            </a:extLst>
          </p:cNvPr>
          <p:cNvSpPr/>
          <p:nvPr/>
        </p:nvSpPr>
        <p:spPr bwMode="ltGray">
          <a:xfrm>
            <a:off x="8369394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>
              <a:sym typeface="Proxima Nova Light" charset="0"/>
            </a:endParaRPr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7CA44ADC-5231-43AF-906E-A8DDA719957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72652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ECE4A802-C7F3-4538-B1FB-98E6F612765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686300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9" name="Picture Placeholder 35">
            <a:extLst>
              <a:ext uri="{FF2B5EF4-FFF2-40B4-BE49-F238E27FC236}">
                <a16:creationId xmlns:a16="http://schemas.microsoft.com/office/drawing/2014/main" id="{5B525A51-4DF4-42AF-82A8-0F5A36D8AA4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499948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17BFF989-2765-4A09-8AE8-E2ACBBE59A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6736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1</a:t>
            </a:r>
          </a:p>
        </p:txBody>
      </p:sp>
      <p:sp>
        <p:nvSpPr>
          <p:cNvPr id="43" name="Text Placeholder 41">
            <a:extLst>
              <a:ext uri="{FF2B5EF4-FFF2-40B4-BE49-F238E27FC236}">
                <a16:creationId xmlns:a16="http://schemas.microsoft.com/office/drawing/2014/main" id="{91C01F98-B49B-4B32-B1BB-B41E8EA15A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2663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2</a:t>
            </a:r>
          </a:p>
        </p:txBody>
      </p:sp>
      <p:sp>
        <p:nvSpPr>
          <p:cNvPr id="44" name="Text Placeholder 41">
            <a:extLst>
              <a:ext uri="{FF2B5EF4-FFF2-40B4-BE49-F238E27FC236}">
                <a16:creationId xmlns:a16="http://schemas.microsoft.com/office/drawing/2014/main" id="{FC7C06E5-7271-4B89-AB80-DD09B51F8A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06310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3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F8D4E7B-DD8A-4462-A940-F3A1029BC4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E6D966-50E4-4144-82A3-60717BEFC28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E266DFD-040A-4C14-9640-CEEDD94BCA8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</p:spTree>
    <p:extLst>
      <p:ext uri="{BB962C8B-B14F-4D97-AF65-F5344CB8AC3E}">
        <p14:creationId xmlns:p14="http://schemas.microsoft.com/office/powerpoint/2010/main" val="1653155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with Body Copy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F289E38-44F5-4D8D-9EE0-619201D57247}"/>
              </a:ext>
            </a:extLst>
          </p:cNvPr>
          <p:cNvSpPr/>
          <p:nvPr/>
        </p:nvSpPr>
        <p:spPr bwMode="white">
          <a:xfrm>
            <a:off x="0" y="6249122"/>
            <a:ext cx="12192000" cy="6040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640C6A-CF77-4953-9AD6-63845305FE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6580124" cy="89797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5662183-DD4B-4458-ABD2-C710415E28ED}"/>
              </a:ext>
            </a:extLst>
          </p:cNvPr>
          <p:cNvSpPr/>
          <p:nvPr/>
        </p:nvSpPr>
        <p:spPr bwMode="ltGray">
          <a:xfrm>
            <a:off x="7244184" y="647700"/>
            <a:ext cx="7710066" cy="7710066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>
              <a:sym typeface="Proxima Nova Light" charset="0"/>
            </a:endParaRPr>
          </a:p>
        </p:txBody>
      </p:sp>
      <p:sp>
        <p:nvSpPr>
          <p:cNvPr id="9" name="Picture Placeholder 35">
            <a:extLst>
              <a:ext uri="{FF2B5EF4-FFF2-40B4-BE49-F238E27FC236}">
                <a16:creationId xmlns:a16="http://schemas.microsoft.com/office/drawing/2014/main" id="{B6EFA928-550A-425C-9E54-627E2710A12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73517" y="1375262"/>
            <a:ext cx="6251400" cy="6254942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AA5E399-4DEC-4925-BE64-4EBC5F4C64A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DFD2725-2034-48A2-8BB6-47D844A186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93776" y="1306513"/>
            <a:ext cx="5741924" cy="48704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4065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CF28A28-4922-4916-AFC6-845CCE61E5FF}"/>
              </a:ext>
            </a:extLst>
          </p:cNvPr>
          <p:cNvSpPr/>
          <p:nvPr userDrawn="1"/>
        </p:nvSpPr>
        <p:spPr>
          <a:xfrm>
            <a:off x="0" y="2308250"/>
            <a:ext cx="12192000" cy="2241500"/>
          </a:xfrm>
          <a:prstGeom prst="rect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FEAD26-BB58-4888-8067-7BFE89073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2308250"/>
            <a:ext cx="11204448" cy="2241500"/>
          </a:xfrm>
        </p:spPr>
        <p:txBody>
          <a:bodyPr vert="horz" lIns="457200" tIns="0" rIns="457200" bIns="0" rtlCol="0" anchor="ctr">
            <a:noAutofit/>
          </a:bodyPr>
          <a:lstStyle>
            <a:lvl1pPr algn="ctr">
              <a:defRPr lang="en-US" sz="600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F4B4470-AF44-490D-B3D0-FE6FB03B6585}"/>
              </a:ext>
            </a:extLst>
          </p:cNvPr>
          <p:cNvSpPr/>
          <p:nvPr userDrawn="1"/>
        </p:nvSpPr>
        <p:spPr>
          <a:xfrm>
            <a:off x="132899" y="6218787"/>
            <a:ext cx="11926202" cy="325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5679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5">
            <a:extLst>
              <a:ext uri="{FF2B5EF4-FFF2-40B4-BE49-F238E27FC236}">
                <a16:creationId xmlns:a16="http://schemas.microsoft.com/office/drawing/2014/main" id="{E963FA91-2E8D-4668-A0A8-B78EA30819AA}"/>
              </a:ext>
            </a:extLst>
          </p:cNvPr>
          <p:cNvSpPr>
            <a:spLocks noEditPoints="1"/>
          </p:cNvSpPr>
          <p:nvPr/>
        </p:nvSpPr>
        <p:spPr bwMode="ltGray">
          <a:xfrm>
            <a:off x="2050147" y="0"/>
            <a:ext cx="8091707" cy="6858000"/>
          </a:xfrm>
          <a:custGeom>
            <a:avLst/>
            <a:gdLst>
              <a:gd name="T0" fmla="*/ 1079 w 3392"/>
              <a:gd name="T1" fmla="*/ 2884 h 2884"/>
              <a:gd name="T2" fmla="*/ 803 w 3392"/>
              <a:gd name="T3" fmla="*/ 2884 h 2884"/>
              <a:gd name="T4" fmla="*/ 0 w 3392"/>
              <a:gd name="T5" fmla="*/ 1442 h 2884"/>
              <a:gd name="T6" fmla="*/ 803 w 3392"/>
              <a:gd name="T7" fmla="*/ 0 h 2884"/>
              <a:gd name="T8" fmla="*/ 1079 w 3392"/>
              <a:gd name="T9" fmla="*/ 0 h 2884"/>
              <a:gd name="T10" fmla="*/ 128 w 3392"/>
              <a:gd name="T11" fmla="*/ 1442 h 2884"/>
              <a:gd name="T12" fmla="*/ 1079 w 3392"/>
              <a:gd name="T13" fmla="*/ 2884 h 2884"/>
              <a:gd name="T14" fmla="*/ 3264 w 3392"/>
              <a:gd name="T15" fmla="*/ 1442 h 2884"/>
              <a:gd name="T16" fmla="*/ 2313 w 3392"/>
              <a:gd name="T17" fmla="*/ 2884 h 2884"/>
              <a:gd name="T18" fmla="*/ 2589 w 3392"/>
              <a:gd name="T19" fmla="*/ 2884 h 2884"/>
              <a:gd name="T20" fmla="*/ 3392 w 3392"/>
              <a:gd name="T21" fmla="*/ 1442 h 2884"/>
              <a:gd name="T22" fmla="*/ 2589 w 3392"/>
              <a:gd name="T23" fmla="*/ 0 h 2884"/>
              <a:gd name="T24" fmla="*/ 2313 w 3392"/>
              <a:gd name="T25" fmla="*/ 0 h 2884"/>
              <a:gd name="T26" fmla="*/ 3264 w 3392"/>
              <a:gd name="T27" fmla="*/ 1442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392" h="2884">
                <a:moveTo>
                  <a:pt x="1079" y="2884"/>
                </a:moveTo>
                <a:cubicBezTo>
                  <a:pt x="803" y="2884"/>
                  <a:pt x="803" y="2884"/>
                  <a:pt x="803" y="2884"/>
                </a:cubicBezTo>
                <a:cubicBezTo>
                  <a:pt x="321" y="2585"/>
                  <a:pt x="0" y="2051"/>
                  <a:pt x="0" y="1442"/>
                </a:cubicBezTo>
                <a:cubicBezTo>
                  <a:pt x="0" y="833"/>
                  <a:pt x="321" y="299"/>
                  <a:pt x="803" y="0"/>
                </a:cubicBezTo>
                <a:cubicBezTo>
                  <a:pt x="1079" y="0"/>
                  <a:pt x="1079" y="0"/>
                  <a:pt x="1079" y="0"/>
                </a:cubicBezTo>
                <a:cubicBezTo>
                  <a:pt x="520" y="240"/>
                  <a:pt x="128" y="795"/>
                  <a:pt x="128" y="1442"/>
                </a:cubicBezTo>
                <a:cubicBezTo>
                  <a:pt x="128" y="2089"/>
                  <a:pt x="520" y="2644"/>
                  <a:pt x="1079" y="2884"/>
                </a:cubicBezTo>
                <a:close/>
                <a:moveTo>
                  <a:pt x="3264" y="1442"/>
                </a:moveTo>
                <a:cubicBezTo>
                  <a:pt x="3264" y="2089"/>
                  <a:pt x="2872" y="2644"/>
                  <a:pt x="2313" y="2884"/>
                </a:cubicBezTo>
                <a:cubicBezTo>
                  <a:pt x="2589" y="2884"/>
                  <a:pt x="2589" y="2884"/>
                  <a:pt x="2589" y="2884"/>
                </a:cubicBezTo>
                <a:cubicBezTo>
                  <a:pt x="3071" y="2585"/>
                  <a:pt x="3392" y="2051"/>
                  <a:pt x="3392" y="1442"/>
                </a:cubicBezTo>
                <a:cubicBezTo>
                  <a:pt x="3392" y="833"/>
                  <a:pt x="3071" y="299"/>
                  <a:pt x="2589" y="0"/>
                </a:cubicBezTo>
                <a:cubicBezTo>
                  <a:pt x="2313" y="0"/>
                  <a:pt x="2313" y="0"/>
                  <a:pt x="2313" y="0"/>
                </a:cubicBezTo>
                <a:cubicBezTo>
                  <a:pt x="2872" y="240"/>
                  <a:pt x="3264" y="795"/>
                  <a:pt x="3264" y="1442"/>
                </a:cubicBez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2" name="Content Placeholder 13">
            <a:extLst>
              <a:ext uri="{FF2B5EF4-FFF2-40B4-BE49-F238E27FC236}">
                <a16:creationId xmlns:a16="http://schemas.microsoft.com/office/drawing/2014/main" id="{B9D677F4-4749-47B1-8AFA-DFA6D872EF2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293257" y="2004515"/>
            <a:ext cx="7605486" cy="284897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152396" indent="-152396" algn="ctr" defTabSz="914377" rtl="0" eaLnBrk="0" fontAlgn="base" hangingPunct="0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SzPct val="100000"/>
              <a:buNone/>
              <a:defRPr lang="en-US" sz="6000" b="0" i="0" kern="1200" baseline="0" dirty="0">
                <a:solidFill>
                  <a:schemeClr val="accent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  <a:sym typeface="Proxima Nova" charset="0"/>
              </a:defRPr>
            </a:lvl1pPr>
            <a:lvl2pPr marL="171445" marR="0" indent="0" algn="l" defTabSz="914377" rtl="0" eaLnBrk="0" fontAlgn="base" latinLnBrk="0" hangingPunct="0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Key Statement</a:t>
            </a:r>
            <a:br>
              <a:rPr lang="en-US"/>
            </a:br>
            <a:r>
              <a:rPr lang="en-US"/>
              <a:t>Placehold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C2602FE-8B27-4067-87FB-0DAB3C428E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3499" y="6051007"/>
            <a:ext cx="955343" cy="32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2462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olid Blue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>
            <a:extLst>
              <a:ext uri="{FF2B5EF4-FFF2-40B4-BE49-F238E27FC236}">
                <a16:creationId xmlns:a16="http://schemas.microsoft.com/office/drawing/2014/main" id="{2C82202C-7A22-4F82-BB7E-52012371FAD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93776" y="2632367"/>
            <a:ext cx="11193399" cy="16348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14300" indent="-114300" algn="l" defTabSz="685800" rtl="0" eaLnBrk="0" fontAlgn="base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SzPct val="100000"/>
              <a:buNone/>
              <a:defRPr lang="en-US" sz="4400" b="0" i="0" kern="1200" baseline="0" dirty="0">
                <a:solidFill>
                  <a:srgbClr val="FFFFFF"/>
                </a:solidFill>
                <a:latin typeface="+mn-lt"/>
                <a:ea typeface="Proxima Nova" panose="02000506030000020004" pitchFamily="50" charset="0"/>
                <a:cs typeface="Proxima Nova" panose="02000506030000020004" pitchFamily="50" charset="0"/>
                <a:sym typeface="Proxima Nova" charset="0"/>
              </a:defRPr>
            </a:lvl1pPr>
            <a:lvl2pPr marL="128587" marR="0" indent="0" algn="l" defTabSz="685800" rtl="0" eaLnBrk="0" fontAlgn="base" latinLnBrk="0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Text goes here.</a:t>
            </a:r>
          </a:p>
        </p:txBody>
      </p:sp>
    </p:spTree>
    <p:extLst>
      <p:ext uri="{BB962C8B-B14F-4D97-AF65-F5344CB8AC3E}">
        <p14:creationId xmlns:p14="http://schemas.microsoft.com/office/powerpoint/2010/main" val="1042179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adient Background">
    <p:bg>
      <p:bgPr>
        <a:gradFill>
          <a:gsLst>
            <a:gs pos="0">
              <a:srgbClr val="009AE0"/>
            </a:gs>
            <a:gs pos="100000">
              <a:srgbClr val="00A846"/>
            </a:gs>
          </a:gsLst>
          <a:lin ang="3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>
            <a:extLst>
              <a:ext uri="{FF2B5EF4-FFF2-40B4-BE49-F238E27FC236}">
                <a16:creationId xmlns:a16="http://schemas.microsoft.com/office/drawing/2014/main" id="{2C82202C-7A22-4F82-BB7E-52012371FAD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93776" y="2632367"/>
            <a:ext cx="11193399" cy="16348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14300" indent="-114300" algn="l" defTabSz="685800" rtl="0" eaLnBrk="0" fontAlgn="base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SzPct val="100000"/>
              <a:buNone/>
              <a:defRPr lang="en-US" sz="4400" b="0" i="0" kern="1200" baseline="0" dirty="0">
                <a:solidFill>
                  <a:srgbClr val="FFFFFF"/>
                </a:solidFill>
                <a:latin typeface="+mn-lt"/>
                <a:ea typeface="Proxima Nova" panose="02000506030000020004" pitchFamily="50" charset="0"/>
                <a:cs typeface="Proxima Nova" panose="02000506030000020004" pitchFamily="50" charset="0"/>
                <a:sym typeface="Proxima Nova" charset="0"/>
              </a:defRPr>
            </a:lvl1pPr>
            <a:lvl2pPr marL="128587" marR="0" indent="0" algn="l" defTabSz="685800" rtl="0" eaLnBrk="0" fontAlgn="base" latinLnBrk="0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Text goes here.</a:t>
            </a:r>
          </a:p>
        </p:txBody>
      </p:sp>
    </p:spTree>
    <p:extLst>
      <p:ext uri="{BB962C8B-B14F-4D97-AF65-F5344CB8AC3E}">
        <p14:creationId xmlns:p14="http://schemas.microsoft.com/office/powerpoint/2010/main" val="1966720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pener/Clos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AF9195B-6ED2-49AC-9218-522143C81B76}"/>
              </a:ext>
            </a:extLst>
          </p:cNvPr>
          <p:cNvSpPr/>
          <p:nvPr/>
        </p:nvSpPr>
        <p:spPr bwMode="ltGray">
          <a:xfrm>
            <a:off x="1368552" y="0"/>
            <a:ext cx="9454896" cy="6858000"/>
          </a:xfrm>
          <a:custGeom>
            <a:avLst/>
            <a:gdLst>
              <a:gd name="connsiteX0" fmla="*/ 1475039 w 9454896"/>
              <a:gd name="connsiteY0" fmla="*/ 0 h 6858000"/>
              <a:gd name="connsiteX1" fmla="*/ 7979857 w 9454896"/>
              <a:gd name="connsiteY1" fmla="*/ 0 h 6858000"/>
              <a:gd name="connsiteX2" fmla="*/ 8070258 w 9454896"/>
              <a:gd name="connsiteY2" fmla="*/ 86190 h 6858000"/>
              <a:gd name="connsiteX3" fmla="*/ 9454896 w 9454896"/>
              <a:gd name="connsiteY3" fmla="*/ 3429000 h 6858000"/>
              <a:gd name="connsiteX4" fmla="*/ 8070258 w 9454896"/>
              <a:gd name="connsiteY4" fmla="*/ 6771811 h 6858000"/>
              <a:gd name="connsiteX5" fmla="*/ 7979857 w 9454896"/>
              <a:gd name="connsiteY5" fmla="*/ 6858000 h 6858000"/>
              <a:gd name="connsiteX6" fmla="*/ 1475039 w 9454896"/>
              <a:gd name="connsiteY6" fmla="*/ 6858000 h 6858000"/>
              <a:gd name="connsiteX7" fmla="*/ 1384638 w 9454896"/>
              <a:gd name="connsiteY7" fmla="*/ 6771811 h 6858000"/>
              <a:gd name="connsiteX8" fmla="*/ 0 w 9454896"/>
              <a:gd name="connsiteY8" fmla="*/ 3429000 h 6858000"/>
              <a:gd name="connsiteX9" fmla="*/ 1384638 w 9454896"/>
              <a:gd name="connsiteY9" fmla="*/ 8619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454896" h="6858000">
                <a:moveTo>
                  <a:pt x="1475039" y="0"/>
                </a:moveTo>
                <a:lnTo>
                  <a:pt x="7979857" y="0"/>
                </a:lnTo>
                <a:lnTo>
                  <a:pt x="8070258" y="86190"/>
                </a:lnTo>
                <a:cubicBezTo>
                  <a:pt x="8925758" y="941690"/>
                  <a:pt x="9454896" y="2123552"/>
                  <a:pt x="9454896" y="3429000"/>
                </a:cubicBezTo>
                <a:cubicBezTo>
                  <a:pt x="9454896" y="4734449"/>
                  <a:pt x="8925758" y="5916311"/>
                  <a:pt x="8070258" y="6771811"/>
                </a:cubicBezTo>
                <a:lnTo>
                  <a:pt x="7979857" y="6858000"/>
                </a:lnTo>
                <a:lnTo>
                  <a:pt x="1475039" y="6858000"/>
                </a:lnTo>
                <a:lnTo>
                  <a:pt x="1384638" y="6771811"/>
                </a:lnTo>
                <a:cubicBezTo>
                  <a:pt x="529138" y="5916311"/>
                  <a:pt x="0" y="4734449"/>
                  <a:pt x="0" y="3429000"/>
                </a:cubicBezTo>
                <a:cubicBezTo>
                  <a:pt x="0" y="2123552"/>
                  <a:pt x="529138" y="941690"/>
                  <a:pt x="1384638" y="86190"/>
                </a:cubicBez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>
              <a:sym typeface="Proxima Nova Light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87E50BA-27C6-47D2-8515-4845557F9C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5200" y="2176780"/>
            <a:ext cx="5181600" cy="2504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2373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o Not Use">
    <p:bg>
      <p:bgPr>
        <a:solidFill>
          <a:srgbClr val="FC931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712D05C3-B4E4-435F-A620-EDB17198F734}"/>
              </a:ext>
            </a:extLst>
          </p:cNvPr>
          <p:cNvSpPr txBox="1">
            <a:spLocks/>
          </p:cNvSpPr>
          <p:nvPr/>
        </p:nvSpPr>
        <p:spPr>
          <a:xfrm>
            <a:off x="838200" y="2587724"/>
            <a:ext cx="10515600" cy="1716419"/>
          </a:xfrm>
          <a:prstGeom prst="rect">
            <a:avLst/>
          </a:prstGeom>
        </p:spPr>
        <p:txBody>
          <a:bodyPr vert="horz" lIns="0" tIns="121920" rIns="0" bIns="0" rtlCol="0" anchor="ctr">
            <a:noAutofit/>
          </a:bodyPr>
          <a:lstStyle>
            <a:lvl1pPr algn="ctr" defTabSz="685800" rtl="0" eaLnBrk="0" fontAlgn="base" hangingPunct="0">
              <a:lnSpc>
                <a:spcPct val="68000"/>
              </a:lnSpc>
              <a:spcBef>
                <a:spcPct val="0"/>
              </a:spcBef>
              <a:spcAft>
                <a:spcPct val="0"/>
              </a:spcAft>
              <a:defRPr kumimoji="0" lang="en-US" sz="3200" b="1" i="0" u="none" strike="noStrike" kern="1200" cap="all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Proxima Nova Black" charset="0"/>
              </a:defRPr>
            </a:lvl1pPr>
            <a:lvl2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2pPr>
            <a:lvl3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3pPr>
            <a:lvl4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4pPr>
            <a:lvl5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5pPr>
            <a:lvl6pPr marL="17145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6pPr>
            <a:lvl7pPr marL="34290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7pPr>
            <a:lvl8pPr marL="51435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8pPr>
            <a:lvl9pPr marL="68580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9pPr>
          </a:lstStyle>
          <a:p>
            <a:r>
              <a:rPr lang="en-US" sz="4267"/>
              <a:t>any masters that appear after this warning are </a:t>
            </a:r>
            <a:r>
              <a:rPr lang="en-US" sz="4267">
                <a:solidFill>
                  <a:srgbClr val="CD0000"/>
                </a:solidFill>
              </a:rPr>
              <a:t>rogue layouts </a:t>
            </a:r>
            <a:r>
              <a:rPr lang="en-US" sz="4267">
                <a:solidFill>
                  <a:srgbClr val="F9451B"/>
                </a:solidFill>
              </a:rPr>
              <a:t/>
            </a:r>
            <a:br>
              <a:rPr lang="en-US" sz="4267">
                <a:solidFill>
                  <a:srgbClr val="F9451B"/>
                </a:solidFill>
              </a:rPr>
            </a:br>
            <a:r>
              <a:rPr lang="en-US" sz="4267"/>
              <a:t>and should be deleted</a:t>
            </a:r>
          </a:p>
        </p:txBody>
      </p:sp>
      <p:sp>
        <p:nvSpPr>
          <p:cNvPr id="8" name="Freeform 11">
            <a:extLst>
              <a:ext uri="{FF2B5EF4-FFF2-40B4-BE49-F238E27FC236}">
                <a16:creationId xmlns:a16="http://schemas.microsoft.com/office/drawing/2014/main" id="{5525B98F-982E-4377-912F-012B18901CDD}"/>
              </a:ext>
            </a:extLst>
          </p:cNvPr>
          <p:cNvSpPr>
            <a:spLocks/>
          </p:cNvSpPr>
          <p:nvPr/>
        </p:nvSpPr>
        <p:spPr bwMode="invGray">
          <a:xfrm rot="10800000">
            <a:off x="5815727" y="4750775"/>
            <a:ext cx="558432" cy="411210"/>
          </a:xfrm>
          <a:custGeom>
            <a:avLst/>
            <a:gdLst>
              <a:gd name="T0" fmla="*/ 14 w 237"/>
              <a:gd name="T1" fmla="*/ 195 h 197"/>
              <a:gd name="T2" fmla="*/ 8 w 237"/>
              <a:gd name="T3" fmla="*/ 194 h 197"/>
              <a:gd name="T4" fmla="*/ 3 w 237"/>
              <a:gd name="T5" fmla="*/ 177 h 197"/>
              <a:gd name="T6" fmla="*/ 99 w 237"/>
              <a:gd name="T7" fmla="*/ 12 h 197"/>
              <a:gd name="T8" fmla="*/ 119 w 237"/>
              <a:gd name="T9" fmla="*/ 0 h 197"/>
              <a:gd name="T10" fmla="*/ 138 w 237"/>
              <a:gd name="T11" fmla="*/ 12 h 197"/>
              <a:gd name="T12" fmla="*/ 234 w 237"/>
              <a:gd name="T13" fmla="*/ 177 h 197"/>
              <a:gd name="T14" fmla="*/ 230 w 237"/>
              <a:gd name="T15" fmla="*/ 194 h 197"/>
              <a:gd name="T16" fmla="*/ 213 w 237"/>
              <a:gd name="T17" fmla="*/ 189 h 197"/>
              <a:gd name="T18" fmla="*/ 119 w 237"/>
              <a:gd name="T19" fmla="*/ 26 h 197"/>
              <a:gd name="T20" fmla="*/ 24 w 237"/>
              <a:gd name="T21" fmla="*/ 189 h 197"/>
              <a:gd name="T22" fmla="*/ 14 w 237"/>
              <a:gd name="T23" fmla="*/ 195 h 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7" h="197">
                <a:moveTo>
                  <a:pt x="14" y="195"/>
                </a:moveTo>
                <a:cubicBezTo>
                  <a:pt x="12" y="195"/>
                  <a:pt x="10" y="195"/>
                  <a:pt x="8" y="194"/>
                </a:cubicBezTo>
                <a:cubicBezTo>
                  <a:pt x="2" y="191"/>
                  <a:pt x="0" y="183"/>
                  <a:pt x="3" y="177"/>
                </a:cubicBezTo>
                <a:cubicBezTo>
                  <a:pt x="99" y="12"/>
                  <a:pt x="99" y="12"/>
                  <a:pt x="99" y="12"/>
                </a:cubicBezTo>
                <a:cubicBezTo>
                  <a:pt x="103" y="4"/>
                  <a:pt x="111" y="0"/>
                  <a:pt x="119" y="0"/>
                </a:cubicBezTo>
                <a:cubicBezTo>
                  <a:pt x="127" y="0"/>
                  <a:pt x="134" y="4"/>
                  <a:pt x="138" y="12"/>
                </a:cubicBezTo>
                <a:cubicBezTo>
                  <a:pt x="234" y="177"/>
                  <a:pt x="234" y="177"/>
                  <a:pt x="234" y="177"/>
                </a:cubicBezTo>
                <a:cubicBezTo>
                  <a:pt x="237" y="183"/>
                  <a:pt x="235" y="191"/>
                  <a:pt x="230" y="194"/>
                </a:cubicBezTo>
                <a:cubicBezTo>
                  <a:pt x="224" y="197"/>
                  <a:pt x="217" y="195"/>
                  <a:pt x="213" y="189"/>
                </a:cubicBezTo>
                <a:cubicBezTo>
                  <a:pt x="119" y="26"/>
                  <a:pt x="119" y="26"/>
                  <a:pt x="119" y="26"/>
                </a:cubicBezTo>
                <a:cubicBezTo>
                  <a:pt x="24" y="189"/>
                  <a:pt x="24" y="189"/>
                  <a:pt x="24" y="189"/>
                </a:cubicBezTo>
                <a:cubicBezTo>
                  <a:pt x="22" y="193"/>
                  <a:pt x="18" y="195"/>
                  <a:pt x="14" y="19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BD83303-64DB-4155-A239-5D0D737F0B38}"/>
              </a:ext>
            </a:extLst>
          </p:cNvPr>
          <p:cNvGrpSpPr/>
          <p:nvPr/>
        </p:nvGrpSpPr>
        <p:grpSpPr bwMode="black">
          <a:xfrm>
            <a:off x="5655735" y="1357760"/>
            <a:ext cx="880533" cy="783331"/>
            <a:chOff x="5046133" y="896938"/>
            <a:chExt cx="733425" cy="652463"/>
          </a:xfrm>
          <a:solidFill>
            <a:srgbClr val="FFFFFF"/>
          </a:solidFill>
        </p:grpSpPr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F109598A-4181-46AD-B31A-AE565CFA82A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046133" y="896938"/>
              <a:ext cx="733425" cy="652463"/>
            </a:xfrm>
            <a:custGeom>
              <a:avLst/>
              <a:gdLst>
                <a:gd name="T0" fmla="*/ 187 w 374"/>
                <a:gd name="T1" fmla="*/ 24 h 332"/>
                <a:gd name="T2" fmla="*/ 201 w 374"/>
                <a:gd name="T3" fmla="*/ 32 h 332"/>
                <a:gd name="T4" fmla="*/ 346 w 374"/>
                <a:gd name="T5" fmla="*/ 284 h 332"/>
                <a:gd name="T6" fmla="*/ 332 w 374"/>
                <a:gd name="T7" fmla="*/ 308 h 332"/>
                <a:gd name="T8" fmla="*/ 42 w 374"/>
                <a:gd name="T9" fmla="*/ 308 h 332"/>
                <a:gd name="T10" fmla="*/ 28 w 374"/>
                <a:gd name="T11" fmla="*/ 284 h 332"/>
                <a:gd name="T12" fmla="*/ 173 w 374"/>
                <a:gd name="T13" fmla="*/ 32 h 332"/>
                <a:gd name="T14" fmla="*/ 187 w 374"/>
                <a:gd name="T15" fmla="*/ 24 h 332"/>
                <a:gd name="T16" fmla="*/ 187 w 374"/>
                <a:gd name="T17" fmla="*/ 0 h 332"/>
                <a:gd name="T18" fmla="*/ 152 w 374"/>
                <a:gd name="T19" fmla="*/ 20 h 332"/>
                <a:gd name="T20" fmla="*/ 7 w 374"/>
                <a:gd name="T21" fmla="*/ 272 h 332"/>
                <a:gd name="T22" fmla="*/ 7 w 374"/>
                <a:gd name="T23" fmla="*/ 312 h 332"/>
                <a:gd name="T24" fmla="*/ 42 w 374"/>
                <a:gd name="T25" fmla="*/ 332 h 332"/>
                <a:gd name="T26" fmla="*/ 332 w 374"/>
                <a:gd name="T27" fmla="*/ 332 h 332"/>
                <a:gd name="T28" fmla="*/ 367 w 374"/>
                <a:gd name="T29" fmla="*/ 312 h 332"/>
                <a:gd name="T30" fmla="*/ 367 w 374"/>
                <a:gd name="T31" fmla="*/ 272 h 332"/>
                <a:gd name="T32" fmla="*/ 222 w 374"/>
                <a:gd name="T33" fmla="*/ 20 h 332"/>
                <a:gd name="T34" fmla="*/ 187 w 374"/>
                <a:gd name="T35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74" h="332">
                  <a:moveTo>
                    <a:pt x="187" y="24"/>
                  </a:moveTo>
                  <a:cubicBezTo>
                    <a:pt x="192" y="24"/>
                    <a:pt x="198" y="27"/>
                    <a:pt x="201" y="32"/>
                  </a:cubicBezTo>
                  <a:cubicBezTo>
                    <a:pt x="346" y="284"/>
                    <a:pt x="346" y="284"/>
                    <a:pt x="346" y="284"/>
                  </a:cubicBezTo>
                  <a:cubicBezTo>
                    <a:pt x="352" y="294"/>
                    <a:pt x="344" y="308"/>
                    <a:pt x="332" y="308"/>
                  </a:cubicBezTo>
                  <a:cubicBezTo>
                    <a:pt x="42" y="308"/>
                    <a:pt x="42" y="308"/>
                    <a:pt x="42" y="308"/>
                  </a:cubicBezTo>
                  <a:cubicBezTo>
                    <a:pt x="29" y="308"/>
                    <a:pt x="21" y="294"/>
                    <a:pt x="28" y="284"/>
                  </a:cubicBezTo>
                  <a:cubicBezTo>
                    <a:pt x="173" y="32"/>
                    <a:pt x="173" y="32"/>
                    <a:pt x="173" y="32"/>
                  </a:cubicBezTo>
                  <a:cubicBezTo>
                    <a:pt x="176" y="27"/>
                    <a:pt x="181" y="24"/>
                    <a:pt x="187" y="24"/>
                  </a:cubicBezTo>
                  <a:moveTo>
                    <a:pt x="187" y="0"/>
                  </a:moveTo>
                  <a:cubicBezTo>
                    <a:pt x="172" y="0"/>
                    <a:pt x="159" y="8"/>
                    <a:pt x="152" y="20"/>
                  </a:cubicBezTo>
                  <a:cubicBezTo>
                    <a:pt x="7" y="272"/>
                    <a:pt x="7" y="272"/>
                    <a:pt x="7" y="272"/>
                  </a:cubicBezTo>
                  <a:cubicBezTo>
                    <a:pt x="0" y="284"/>
                    <a:pt x="0" y="299"/>
                    <a:pt x="7" y="312"/>
                  </a:cubicBezTo>
                  <a:cubicBezTo>
                    <a:pt x="14" y="324"/>
                    <a:pt x="27" y="332"/>
                    <a:pt x="42" y="332"/>
                  </a:cubicBezTo>
                  <a:cubicBezTo>
                    <a:pt x="332" y="332"/>
                    <a:pt x="332" y="332"/>
                    <a:pt x="332" y="332"/>
                  </a:cubicBezTo>
                  <a:cubicBezTo>
                    <a:pt x="346" y="332"/>
                    <a:pt x="359" y="324"/>
                    <a:pt x="367" y="312"/>
                  </a:cubicBezTo>
                  <a:cubicBezTo>
                    <a:pt x="374" y="299"/>
                    <a:pt x="374" y="284"/>
                    <a:pt x="367" y="272"/>
                  </a:cubicBezTo>
                  <a:cubicBezTo>
                    <a:pt x="222" y="20"/>
                    <a:pt x="222" y="20"/>
                    <a:pt x="222" y="20"/>
                  </a:cubicBezTo>
                  <a:cubicBezTo>
                    <a:pt x="214" y="8"/>
                    <a:pt x="201" y="0"/>
                    <a:pt x="18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5E0C7EED-60F5-4F6C-91A7-D4CFB8BCAED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381096" y="1139826"/>
              <a:ext cx="61913" cy="261938"/>
            </a:xfrm>
            <a:custGeom>
              <a:avLst/>
              <a:gdLst>
                <a:gd name="T0" fmla="*/ 16 w 32"/>
                <a:gd name="T1" fmla="*/ 101 h 133"/>
                <a:gd name="T2" fmla="*/ 32 w 32"/>
                <a:gd name="T3" fmla="*/ 117 h 133"/>
                <a:gd name="T4" fmla="*/ 16 w 32"/>
                <a:gd name="T5" fmla="*/ 133 h 133"/>
                <a:gd name="T6" fmla="*/ 0 w 32"/>
                <a:gd name="T7" fmla="*/ 117 h 133"/>
                <a:gd name="T8" fmla="*/ 16 w 32"/>
                <a:gd name="T9" fmla="*/ 101 h 133"/>
                <a:gd name="T10" fmla="*/ 1 w 32"/>
                <a:gd name="T11" fmla="*/ 0 h 133"/>
                <a:gd name="T12" fmla="*/ 31 w 32"/>
                <a:gd name="T13" fmla="*/ 0 h 133"/>
                <a:gd name="T14" fmla="*/ 27 w 32"/>
                <a:gd name="T15" fmla="*/ 88 h 133"/>
                <a:gd name="T16" fmla="*/ 5 w 32"/>
                <a:gd name="T17" fmla="*/ 88 h 133"/>
                <a:gd name="T18" fmla="*/ 1 w 32"/>
                <a:gd name="T19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133">
                  <a:moveTo>
                    <a:pt x="16" y="101"/>
                  </a:moveTo>
                  <a:cubicBezTo>
                    <a:pt x="24" y="101"/>
                    <a:pt x="32" y="108"/>
                    <a:pt x="32" y="117"/>
                  </a:cubicBezTo>
                  <a:cubicBezTo>
                    <a:pt x="32" y="125"/>
                    <a:pt x="24" y="133"/>
                    <a:pt x="16" y="133"/>
                  </a:cubicBezTo>
                  <a:cubicBezTo>
                    <a:pt x="7" y="133"/>
                    <a:pt x="0" y="125"/>
                    <a:pt x="0" y="117"/>
                  </a:cubicBezTo>
                  <a:cubicBezTo>
                    <a:pt x="0" y="108"/>
                    <a:pt x="7" y="101"/>
                    <a:pt x="16" y="101"/>
                  </a:cubicBezTo>
                  <a:close/>
                  <a:moveTo>
                    <a:pt x="1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27" y="88"/>
                    <a:pt x="27" y="88"/>
                    <a:pt x="27" y="88"/>
                  </a:cubicBezTo>
                  <a:cubicBezTo>
                    <a:pt x="5" y="88"/>
                    <a:pt x="5" y="88"/>
                    <a:pt x="5" y="88"/>
                  </a:cubicBez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581366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4BFCF5BB-9E8B-4217-967B-E69B7177F9C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16256" y="1003300"/>
            <a:ext cx="5481968" cy="495300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Bef>
                <a:spcPts val="1200"/>
              </a:spcBef>
              <a:spcAft>
                <a:spcPts val="0"/>
              </a:spcAft>
              <a:defRPr sz="2800" b="1">
                <a:latin typeface="+mj-lt"/>
              </a:defRPr>
            </a:lvl1pPr>
            <a:lvl2pPr marL="0" indent="0">
              <a:spcBef>
                <a:spcPts val="120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2800" b="1">
                <a:solidFill>
                  <a:schemeClr val="accent1"/>
                </a:solidFill>
              </a:defRPr>
            </a:lvl2pPr>
            <a:lvl3pPr marL="228600" indent="-22860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ct val="80000"/>
              <a:buFont typeface="Arial" panose="020B0604020202020204" pitchFamily="34" charset="0"/>
              <a:buChar char="•"/>
              <a:defRPr sz="2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401638" indent="-173038">
              <a:buFont typeface="Arial" panose="020B0604020202020204" pitchFamily="34" charset="0"/>
              <a:buChar char="̵"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 marL="0" indent="0">
              <a:spcBef>
                <a:spcPts val="120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2000"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</a:t>
            </a:r>
          </a:p>
          <a:p>
            <a:pPr lvl="6"/>
            <a:r>
              <a:rPr lang="en-US"/>
              <a:t>Seven</a:t>
            </a:r>
          </a:p>
          <a:p>
            <a:pPr lvl="7"/>
            <a:r>
              <a:rPr lang="en-US"/>
              <a:t>Eight</a:t>
            </a:r>
          </a:p>
          <a:p>
            <a:pPr lvl="8"/>
            <a:r>
              <a:rPr lang="en-US"/>
              <a:t>Nin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662846C-0294-4C31-A1AF-8DE92524D15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B233E9D7-7A6D-4859-8727-AD3BE12D4773}"/>
              </a:ext>
            </a:extLst>
          </p:cNvPr>
          <p:cNvSpPr txBox="1">
            <a:spLocks/>
          </p:cNvSpPr>
          <p:nvPr userDrawn="1"/>
        </p:nvSpPr>
        <p:spPr>
          <a:xfrm>
            <a:off x="645898" y="1694088"/>
            <a:ext cx="5647028" cy="17426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Proxima Nova Black" charset="0"/>
              </a:defRPr>
            </a:lvl1pPr>
            <a:lvl2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2pPr>
            <a:lvl3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3pPr>
            <a:lvl4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4pPr>
            <a:lvl5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5pPr>
            <a:lvl6pPr marL="228594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6pPr>
            <a:lvl7pPr marL="457189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7pPr>
            <a:lvl8pPr marL="685783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8pPr>
            <a:lvl9pPr marL="914377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9pPr>
          </a:lstStyle>
          <a:p>
            <a:r>
              <a:rPr lang="en-US"/>
              <a:t>Agenda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9E10F5BB-8BA0-4329-B8A2-D24501D14D4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  <p:extLst>
      <p:ext uri="{BB962C8B-B14F-4D97-AF65-F5344CB8AC3E}">
        <p14:creationId xmlns:p14="http://schemas.microsoft.com/office/powerpoint/2010/main" val="448630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4A58EC3-CBBE-40C6-BACD-B91C5DEB98D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9B1E174-6AB6-4FB5-9BF5-AB5031CB1BF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Copy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1EF8FE3-90FC-4CE2-A861-BBB367FA50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1321711"/>
            <a:ext cx="11204448" cy="4854722"/>
          </a:xfrm>
          <a:prstGeom prst="rect">
            <a:avLst/>
          </a:prstGeom>
        </p:spPr>
        <p:txBody>
          <a:bodyPr tIns="0">
            <a:noAutofit/>
          </a:bodyPr>
          <a:lstStyle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2E0346-B328-429D-9C68-41755BD2603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C4681B6-8BF4-4456-8C80-C5E766998CA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  <p:extLst>
      <p:ext uri="{BB962C8B-B14F-4D97-AF65-F5344CB8AC3E}">
        <p14:creationId xmlns:p14="http://schemas.microsoft.com/office/powerpoint/2010/main" val="1354220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Copy with Subtitle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1EF8FE3-90FC-4CE2-A861-BBB367FA50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1871133"/>
            <a:ext cx="11204448" cy="4305300"/>
          </a:xfrm>
          <a:prstGeom prst="rect">
            <a:avLst/>
          </a:prstGeom>
        </p:spPr>
        <p:txBody>
          <a:bodyPr tIns="0">
            <a:noAutofit/>
          </a:bodyPr>
          <a:lstStyle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2E0346-B328-429D-9C68-41755BD2603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64B0CAA-EEE3-4C6E-B655-8905CBF48B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93776" y="1093376"/>
            <a:ext cx="11204448" cy="418570"/>
          </a:xfrm>
        </p:spPr>
        <p:txBody>
          <a:bodyPr anchor="t"/>
          <a:lstStyle>
            <a:lvl1pPr marL="0" indent="0">
              <a:buNone/>
              <a:defRPr sz="22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holder sub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0BDF31F-F938-4A4D-81AD-32D2EAFABA6D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  <p:extLst>
      <p:ext uri="{BB962C8B-B14F-4D97-AF65-F5344CB8AC3E}">
        <p14:creationId xmlns:p14="http://schemas.microsoft.com/office/powerpoint/2010/main" val="2765782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Copy (Two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Text Placeholder 14">
            <a:extLst>
              <a:ext uri="{FF2B5EF4-FFF2-40B4-BE49-F238E27FC236}">
                <a16:creationId xmlns:a16="http://schemas.microsoft.com/office/drawing/2014/main" id="{2DA0B400-1FD0-4E71-99C4-0FFC675A0A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16256" y="1321711"/>
            <a:ext cx="5481968" cy="48550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5A309F3-1319-4540-8AC3-1F65844DD0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3775" y="1321711"/>
            <a:ext cx="5481967" cy="48550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B0EDF6-74F5-4BCC-AA48-B7297D5DC9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E264CB-2F28-4218-974F-746E15F9652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9F081E9-D767-4156-81FC-0DF0FA8985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25.xml"/><Relationship Id="rId21" Type="http://schemas.openxmlformats.org/officeDocument/2006/relationships/slideLayout" Target="../slideLayouts/slideLayout43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42.xml"/><Relationship Id="rId29" Type="http://schemas.openxmlformats.org/officeDocument/2006/relationships/image" Target="../media/image5.png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theme" Target="../theme/theme2.xml"/><Relationship Id="rId28" Type="http://schemas.openxmlformats.org/officeDocument/2006/relationships/image" Target="../media/image6.emf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slideLayout" Target="../slideLayouts/slideLayout44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E58A5538-B5E1-44AC-8F98-62A64CCF24E0}"/>
              </a:ext>
            </a:extLst>
          </p:cNvPr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>
            <a:off x="10961934" y="6259494"/>
            <a:ext cx="749808" cy="277430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C20463F-B296-48A2-8B4F-20A01E6766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3776" y="1321711"/>
            <a:ext cx="11204448" cy="48550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</a:t>
            </a:r>
          </a:p>
          <a:p>
            <a:pPr lvl="6"/>
            <a:r>
              <a:rPr lang="en-US"/>
              <a:t>Seven</a:t>
            </a:r>
          </a:p>
          <a:p>
            <a:pPr lvl="7"/>
            <a:r>
              <a:rPr lang="en-US"/>
              <a:t>Eight</a:t>
            </a:r>
          </a:p>
          <a:p>
            <a:pPr lvl="8"/>
            <a:r>
              <a:rPr lang="en-US"/>
              <a:t>Nine</a:t>
            </a:r>
          </a:p>
        </p:txBody>
      </p:sp>
      <p:sp>
        <p:nvSpPr>
          <p:cNvPr id="17" name="Title Placeholder 16">
            <a:extLst>
              <a:ext uri="{FF2B5EF4-FFF2-40B4-BE49-F238E27FC236}">
                <a16:creationId xmlns:a16="http://schemas.microsoft.com/office/drawing/2014/main" id="{439D7FD4-A5EE-4C7C-950C-AF20BA5F1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167677"/>
            <a:ext cx="11204448" cy="897970"/>
          </a:xfrm>
          <a:prstGeom prst="rect">
            <a:avLst/>
          </a:prstGeom>
        </p:spPr>
        <p:txBody>
          <a:bodyPr vert="horz" lIns="0" tIns="18288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A9EF9085-2652-4F8A-8E20-FE186217CC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ltGray">
          <a:xfrm>
            <a:off x="489727" y="6515709"/>
            <a:ext cx="1471154" cy="2068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CI Proprietary and Confidentia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305A1D9-4FF0-424F-8965-1733D133AAF3}"/>
              </a:ext>
            </a:extLst>
          </p:cNvPr>
          <p:cNvSpPr>
            <a:spLocks/>
          </p:cNvSpPr>
          <p:nvPr userDrawn="1"/>
        </p:nvSpPr>
        <p:spPr bwMode="ltGray">
          <a:xfrm>
            <a:off x="5927527" y="6515709"/>
            <a:ext cx="336947" cy="206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>
            <a:lvl1pPr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1pPr>
            <a:lvl2pPr marL="742950" indent="-285750"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2pPr>
            <a:lvl3pPr marL="1143000" indent="-228600"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3pPr>
            <a:lvl4pPr marL="1600200" indent="-228600"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4pPr>
            <a:lvl5pPr marL="2057400" indent="-228600"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5pPr>
            <a:lvl6pPr marL="2514600" indent="-228600" defTabSz="18288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6pPr>
            <a:lvl7pPr marL="2971800" indent="-228600" defTabSz="18288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7pPr>
            <a:lvl8pPr marL="3429000" indent="-228600" defTabSz="18288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8pPr>
            <a:lvl9pPr marL="3886200" indent="-228600" defTabSz="18288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9pPr>
          </a:lstStyle>
          <a:p>
            <a:pPr algn="ctr" defTabSz="685800" fontAlgn="base" hangingPunct="0">
              <a:spcBef>
                <a:spcPct val="0"/>
              </a:spcBef>
              <a:spcAft>
                <a:spcPct val="0"/>
              </a:spcAft>
            </a:pPr>
            <a:fld id="{4A8294F5-3876-0A48-B245-F7D64BCA98A8}" type="slidenum">
              <a:rPr lang="uk-UA" altLang="en-US" sz="800">
                <a:solidFill>
                  <a:schemeClr val="bg1">
                    <a:lumMod val="65000"/>
                  </a:schemeClr>
                </a:solidFill>
                <a:latin typeface="+mn-lt"/>
                <a:ea typeface="Proxima Nova" charset="0"/>
                <a:cs typeface="Proxima Nova" charset="0"/>
                <a:sym typeface="Proxima Nova" charset="0"/>
              </a:rPr>
              <a:pPr algn="ctr" defTabSz="68580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800">
              <a:solidFill>
                <a:schemeClr val="bg1">
                  <a:lumMod val="65000"/>
                </a:schemeClr>
              </a:solidFill>
              <a:latin typeface="+mn-lt"/>
              <a:ea typeface="Proxima Nova" charset="0"/>
              <a:cs typeface="Proxima Nova" charset="0"/>
              <a:sym typeface="Proxima Nova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661A87E-B7D3-440D-9E6F-68EF445B7FC2}"/>
              </a:ext>
            </a:extLst>
          </p:cNvPr>
          <p:cNvSpPr/>
          <p:nvPr userDrawn="1"/>
        </p:nvSpPr>
        <p:spPr>
          <a:xfrm>
            <a:off x="1354975" y="6398435"/>
            <a:ext cx="9387680" cy="45719"/>
          </a:xfrm>
          <a:prstGeom prst="rect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44149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18" r:id="rId2"/>
    <p:sldLayoutId id="2147483772" r:id="rId3"/>
    <p:sldLayoutId id="2147483773" r:id="rId4"/>
    <p:sldLayoutId id="2147483753" r:id="rId5"/>
    <p:sldLayoutId id="2147483699" r:id="rId6"/>
    <p:sldLayoutId id="2147483768" r:id="rId7"/>
    <p:sldLayoutId id="2147483776" r:id="rId8"/>
    <p:sldLayoutId id="2147483700" r:id="rId9"/>
    <p:sldLayoutId id="2147483702" r:id="rId10"/>
    <p:sldLayoutId id="2147483760" r:id="rId11"/>
    <p:sldLayoutId id="2147483752" r:id="rId12"/>
    <p:sldLayoutId id="2147483771" r:id="rId13"/>
    <p:sldLayoutId id="2147483775" r:id="rId14"/>
    <p:sldLayoutId id="2147483762" r:id="rId15"/>
    <p:sldLayoutId id="2147483755" r:id="rId16"/>
    <p:sldLayoutId id="2147483749" r:id="rId17"/>
    <p:sldLayoutId id="2147483769" r:id="rId18"/>
    <p:sldLayoutId id="2147483774" r:id="rId19"/>
    <p:sldLayoutId id="2147483711" r:id="rId20"/>
    <p:sldLayoutId id="2147483750" r:id="rId21"/>
    <p:sldLayoutId id="2147483777" r:id="rId22"/>
  </p:sldLayoutIdLst>
  <p:hf hdr="0" dt="0"/>
  <p:txStyles>
    <p:titleStyle>
      <a:lvl1pPr algn="l" defTabSz="914377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kumimoji="0" lang="en-US" sz="3600" b="0" i="0" u="none" strike="noStrike" kern="1200" cap="none" spc="0" normalizeH="0" baseline="0" smtClean="0">
          <a:ln>
            <a:noFill/>
          </a:ln>
          <a:solidFill>
            <a:schemeClr val="accent2"/>
          </a:solidFill>
          <a:effectLst/>
          <a:uLnTx/>
          <a:uFillTx/>
          <a:latin typeface="Calibri" panose="020F0502020204030204" pitchFamily="34" charset="0"/>
          <a:ea typeface="+mj-ea"/>
          <a:cs typeface="Calibri" panose="020F0502020204030204" pitchFamily="34" charset="0"/>
          <a:sym typeface="Proxima Nova Black" charset="0"/>
        </a:defRPr>
      </a:lvl1pPr>
      <a:lvl2pPr algn="l" defTabSz="914377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2pPr>
      <a:lvl3pPr algn="l" defTabSz="914377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3pPr>
      <a:lvl4pPr algn="l" defTabSz="914377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4pPr>
      <a:lvl5pPr algn="l" defTabSz="914377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5pPr>
      <a:lvl6pPr marL="228594" algn="l" defTabSz="914377" rtl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6pPr>
      <a:lvl7pPr marL="457189" algn="l" defTabSz="914377" rtl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7pPr>
      <a:lvl8pPr marL="685783" algn="l" defTabSz="914377" rtl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8pPr>
      <a:lvl9pPr marL="914377" algn="l" defTabSz="914377" rtl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9pPr>
    </p:titleStyle>
    <p:bodyStyle>
      <a:lvl1pPr marL="0" indent="0" algn="l" defTabSz="914377" rtl="0" eaLnBrk="0" fontAlgn="base" hangingPunct="0">
        <a:lnSpc>
          <a:spcPct val="90000"/>
        </a:lnSpc>
        <a:spcBef>
          <a:spcPts val="1200"/>
        </a:spcBef>
        <a:spcAft>
          <a:spcPts val="0"/>
        </a:spcAft>
        <a:buSzPct val="100000"/>
        <a:buFont typeface="Arial" panose="020B0604020202020204" pitchFamily="34" charset="0"/>
        <a:buChar char="​"/>
        <a:defRPr lang="en-US" sz="2000" b="0" kern="1200" dirty="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 Light" panose="020F0302020204030204" pitchFamily="34" charset="0"/>
          <a:sym typeface="Proxima Nova" charset="0"/>
        </a:defRPr>
      </a:lvl1pPr>
      <a:lvl2pPr marL="228594" indent="-228594" algn="l" defTabSz="914377" rtl="0" eaLnBrk="0" fontAlgn="base" hangingPunct="0">
        <a:lnSpc>
          <a:spcPct val="90000"/>
        </a:lnSpc>
        <a:spcBef>
          <a:spcPts val="667"/>
        </a:spcBef>
        <a:spcAft>
          <a:spcPts val="267"/>
        </a:spcAft>
        <a:buSzPct val="100000"/>
        <a:buFont typeface="Arial" panose="020B0604020202020204" pitchFamily="34" charset="0"/>
        <a:buChar char="•"/>
        <a:defRPr sz="1600" b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2pPr>
      <a:lvl3pPr marL="455613" indent="-225425" algn="l" defTabSz="914377" rtl="0" eaLnBrk="0" fontAlgn="base" hangingPunct="0">
        <a:lnSpc>
          <a:spcPct val="85000"/>
        </a:lnSpc>
        <a:spcBef>
          <a:spcPts val="400"/>
        </a:spcBef>
        <a:spcAft>
          <a:spcPts val="267"/>
        </a:spcAft>
        <a:buClr>
          <a:schemeClr val="tx1">
            <a:lumMod val="65000"/>
            <a:lumOff val="35000"/>
          </a:schemeClr>
        </a:buClr>
        <a:buSzPct val="70000"/>
        <a:buFont typeface="Arial" panose="020B0604020202020204" pitchFamily="34" charset="0"/>
        <a:buChar char="̵"/>
        <a:defRPr sz="1400" b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3pPr>
      <a:lvl4pPr marL="0" indent="0" algn="l" defTabSz="914377" rtl="0" eaLnBrk="0" fontAlgn="base" hangingPunct="0">
        <a:lnSpc>
          <a:spcPct val="90000"/>
        </a:lnSpc>
        <a:spcBef>
          <a:spcPts val="1200"/>
        </a:spcBef>
        <a:spcAft>
          <a:spcPts val="0"/>
        </a:spcAft>
        <a:buClr>
          <a:schemeClr val="tx1">
            <a:lumMod val="65000"/>
            <a:lumOff val="35000"/>
          </a:schemeClr>
        </a:buClr>
        <a:buSzPct val="80000"/>
        <a:buFont typeface="Segoe UI" panose="020B0502040204020203" pitchFamily="34" charset="0"/>
        <a:buChar char="​"/>
        <a:defRPr sz="2400" b="1" i="0" kern="1200">
          <a:solidFill>
            <a:schemeClr val="accent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4pPr>
      <a:lvl5pPr marL="0" indent="0" algn="l" defTabSz="914377" rtl="0" eaLnBrk="0" fontAlgn="base" hangingPunct="0">
        <a:lnSpc>
          <a:spcPct val="85000"/>
        </a:lnSpc>
        <a:spcBef>
          <a:spcPts val="1200"/>
        </a:spcBef>
        <a:spcAft>
          <a:spcPts val="0"/>
        </a:spcAft>
        <a:buSzPct val="80000"/>
        <a:buFont typeface="Segoe UI" panose="020B0502040204020203" pitchFamily="34" charset="0"/>
        <a:buChar char="​"/>
        <a:defRPr sz="20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5pPr>
      <a:lvl6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b="0" kern="1200" cap="none" spc="0" baseline="0" dirty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Calibri" panose="020F0502020204030204" pitchFamily="34" charset="0"/>
        </a:defRPr>
      </a:lvl6pPr>
      <a:lvl7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7pPr>
      <a:lvl8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8pPr>
      <a:lvl9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9pPr>
    </p:bodyStyle>
    <p:otherStyle>
      <a:defPPr>
        <a:defRPr lang="en-US"/>
      </a:defPPr>
      <a:lvl1pPr marL="0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228594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57189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85783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14377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42971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566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600160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754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EA98120-3EF7-461E-AC34-C02BF5C3A7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27" imgW="347" imgH="348" progId="TCLayout.ActiveDocument.1">
                  <p:embed/>
                </p:oleObj>
              </mc:Choice>
              <mc:Fallback>
                <p:oleObj name="think-cell Slide" r:id="rId27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EA98120-3EF7-461E-AC34-C02BF5C3A7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695ED66-1FB5-4142-98B1-DADBDD7E74A6}"/>
              </a:ext>
            </a:extLst>
          </p:cNvPr>
          <p:cNvSpPr/>
          <p:nvPr userDrawn="1">
            <p:custDataLst>
              <p:tags r:id="rId2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C7FC5EA-0D98-46D6-9AD5-D2066C50748C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10979898" y="6279823"/>
            <a:ext cx="722376" cy="241996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C20463F-B296-48A2-8B4F-20A01E6766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3776" y="1321711"/>
            <a:ext cx="11204448" cy="48550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itle Placeholder 16">
            <a:extLst>
              <a:ext uri="{FF2B5EF4-FFF2-40B4-BE49-F238E27FC236}">
                <a16:creationId xmlns:a16="http://schemas.microsoft.com/office/drawing/2014/main" id="{439D7FD4-A5EE-4C7C-950C-AF20BA5F1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167677"/>
            <a:ext cx="11204448" cy="897970"/>
          </a:xfrm>
          <a:prstGeom prst="rect">
            <a:avLst/>
          </a:prstGeom>
        </p:spPr>
        <p:txBody>
          <a:bodyPr vert="horz" lIns="0" tIns="18288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A9EF9085-2652-4F8A-8E20-FE186217CC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ltGray">
          <a:xfrm>
            <a:off x="489727" y="6515709"/>
            <a:ext cx="1471154" cy="2068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661A87E-B7D3-440D-9E6F-68EF445B7FC2}"/>
              </a:ext>
            </a:extLst>
          </p:cNvPr>
          <p:cNvSpPr/>
          <p:nvPr/>
        </p:nvSpPr>
        <p:spPr>
          <a:xfrm>
            <a:off x="489726" y="6398435"/>
            <a:ext cx="10252929" cy="45719"/>
          </a:xfrm>
          <a:prstGeom prst="rect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76ED712-E8D1-4EA1-B8CF-F695AA915A25}"/>
              </a:ext>
            </a:extLst>
          </p:cNvPr>
          <p:cNvSpPr txBox="1">
            <a:spLocks/>
          </p:cNvSpPr>
          <p:nvPr userDrawn="1"/>
        </p:nvSpPr>
        <p:spPr>
          <a:xfrm>
            <a:off x="9332686" y="62104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18E881-30FB-451B-BCD4-27C99034D62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50961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</p:sldLayoutIdLst>
  <p:txStyles>
    <p:titleStyle>
      <a:lvl1pPr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umimoji="0" lang="en-US" sz="3600" b="0" i="0" u="none" strike="noStrike" kern="1200" cap="none" spc="0" normalizeH="0" baseline="0" smtClean="0">
          <a:ln>
            <a:noFill/>
          </a:ln>
          <a:solidFill>
            <a:schemeClr val="accent2"/>
          </a:solidFill>
          <a:effectLst/>
          <a:uLnTx/>
          <a:uFillTx/>
          <a:latin typeface="Calibri" panose="020F0502020204030204" pitchFamily="34" charset="0"/>
          <a:ea typeface="+mj-ea"/>
          <a:cs typeface="Calibri" panose="020F0502020204030204" pitchFamily="34" charset="0"/>
          <a:sym typeface="Proxima Nova Black" charset="0"/>
        </a:defRPr>
      </a:lvl1pPr>
      <a:lvl2pPr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2pPr>
      <a:lvl3pPr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3pPr>
      <a:lvl4pPr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4pPr>
      <a:lvl5pPr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5pPr>
      <a:lvl6pPr marL="228594"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6pPr>
      <a:lvl7pPr marL="457189"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7pPr>
      <a:lvl8pPr marL="685783"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8pPr>
      <a:lvl9pPr marL="914377"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9pPr>
    </p:titleStyle>
    <p:bodyStyle>
      <a:lvl1pPr marL="0" indent="0" algn="l" defTabSz="914377" rtl="0" eaLnBrk="1" fontAlgn="base" hangingPunct="1">
        <a:lnSpc>
          <a:spcPct val="90000"/>
        </a:lnSpc>
        <a:spcBef>
          <a:spcPts val="1200"/>
        </a:spcBef>
        <a:spcAft>
          <a:spcPts val="0"/>
        </a:spcAft>
        <a:buSzPct val="100000"/>
        <a:buFont typeface="Arial" panose="020B0604020202020204" pitchFamily="34" charset="0"/>
        <a:buChar char="​"/>
        <a:defRPr lang="en-US" sz="2000" b="0" kern="1200" dirty="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 Light" panose="020F0302020204030204" pitchFamily="34" charset="0"/>
          <a:sym typeface="Proxima Nova" charset="0"/>
        </a:defRPr>
      </a:lvl1pPr>
      <a:lvl2pPr marL="228594" indent="-228594" algn="l" defTabSz="914377" rtl="0" eaLnBrk="1" fontAlgn="base" hangingPunct="1">
        <a:lnSpc>
          <a:spcPct val="90000"/>
        </a:lnSpc>
        <a:spcBef>
          <a:spcPts val="667"/>
        </a:spcBef>
        <a:spcAft>
          <a:spcPts val="267"/>
        </a:spcAft>
        <a:buSzPct val="100000"/>
        <a:buFont typeface="Arial" panose="020B0604020202020204" pitchFamily="34" charset="0"/>
        <a:buChar char="•"/>
        <a:defRPr sz="1600" b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2pPr>
      <a:lvl3pPr marL="455613" indent="-225425" algn="l" defTabSz="914377" rtl="0" eaLnBrk="1" fontAlgn="base" hangingPunct="1">
        <a:lnSpc>
          <a:spcPct val="85000"/>
        </a:lnSpc>
        <a:spcBef>
          <a:spcPts val="400"/>
        </a:spcBef>
        <a:spcAft>
          <a:spcPts val="267"/>
        </a:spcAft>
        <a:buClr>
          <a:schemeClr val="tx1">
            <a:lumMod val="65000"/>
            <a:lumOff val="35000"/>
          </a:schemeClr>
        </a:buClr>
        <a:buSzPct val="70000"/>
        <a:buFont typeface="Arial" panose="020B0604020202020204" pitchFamily="34" charset="0"/>
        <a:buChar char="̵"/>
        <a:defRPr sz="1400" b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3pPr>
      <a:lvl4pPr marL="0" indent="0" algn="l" defTabSz="914377" rtl="0" eaLnBrk="1" fontAlgn="base" hangingPunct="1">
        <a:lnSpc>
          <a:spcPct val="90000"/>
        </a:lnSpc>
        <a:spcBef>
          <a:spcPts val="1200"/>
        </a:spcBef>
        <a:spcAft>
          <a:spcPts val="0"/>
        </a:spcAft>
        <a:buClr>
          <a:schemeClr val="tx1">
            <a:lumMod val="65000"/>
            <a:lumOff val="35000"/>
          </a:schemeClr>
        </a:buClr>
        <a:buSzPct val="80000"/>
        <a:buFont typeface="Segoe UI" panose="020B0502040204020203" pitchFamily="34" charset="0"/>
        <a:buChar char="​"/>
        <a:defRPr sz="2400" b="1" i="0" kern="1200">
          <a:solidFill>
            <a:schemeClr val="accent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4pPr>
      <a:lvl5pPr marL="0" indent="0" algn="l" defTabSz="914377" rtl="0" eaLnBrk="1" fontAlgn="base" hangingPunct="1">
        <a:lnSpc>
          <a:spcPct val="85000"/>
        </a:lnSpc>
        <a:spcBef>
          <a:spcPts val="1200"/>
        </a:spcBef>
        <a:spcAft>
          <a:spcPts val="0"/>
        </a:spcAft>
        <a:buSzPct val="80000"/>
        <a:buFont typeface="Segoe UI" panose="020B0502040204020203" pitchFamily="34" charset="0"/>
        <a:buChar char="​"/>
        <a:defRPr sz="20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5pPr>
      <a:lvl6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b="0" kern="1200" cap="none" spc="0" baseline="0" dirty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Calibri" panose="020F0502020204030204" pitchFamily="34" charset="0"/>
        </a:defRPr>
      </a:lvl6pPr>
      <a:lvl7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7pPr>
      <a:lvl8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8pPr>
      <a:lvl9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9pPr>
    </p:bodyStyle>
    <p:otherStyle>
      <a:defPPr>
        <a:defRPr lang="en-US"/>
      </a:defPPr>
      <a:lvl1pPr marL="0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228594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57189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85783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14377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42971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566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600160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754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.tiff"/><Relationship Id="rId5" Type="http://schemas.openxmlformats.org/officeDocument/2006/relationships/image" Target="../media/image8.tiff"/><Relationship Id="rId4" Type="http://schemas.microsoft.com/office/2007/relationships/hdphoto" Target="../media/hdphoto2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2438" y="2466109"/>
            <a:ext cx="8315325" cy="969819"/>
          </a:xfrm>
        </p:spPr>
        <p:txBody>
          <a:bodyPr/>
          <a:lstStyle/>
          <a:p>
            <a:r>
              <a:rPr lang="en-US"/>
              <a:t>CIAM Project Updat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2438" y="4858326"/>
            <a:ext cx="5518225" cy="450791"/>
          </a:xfrm>
        </p:spPr>
        <p:txBody>
          <a:bodyPr/>
          <a:lstStyle/>
          <a:p>
            <a:r>
              <a:rPr lang="en-US" dirty="0" smtClean="0"/>
              <a:t>01</a:t>
            </a:r>
            <a:r>
              <a:rPr lang="en-US" baseline="30000" dirty="0" smtClean="0"/>
              <a:t>st</a:t>
            </a:r>
            <a:r>
              <a:rPr lang="en-US" dirty="0" smtClean="0"/>
              <a:t> </a:t>
            </a:r>
            <a:r>
              <a:rPr lang="en-US" dirty="0" smtClean="0"/>
              <a:t>November </a:t>
            </a:r>
            <a:r>
              <a:rPr lang="en-US" dirty="0"/>
              <a:t>2024</a:t>
            </a:r>
          </a:p>
        </p:txBody>
      </p:sp>
    </p:spTree>
    <p:extLst>
      <p:ext uri="{BB962C8B-B14F-4D97-AF65-F5344CB8AC3E}">
        <p14:creationId xmlns:p14="http://schemas.microsoft.com/office/powerpoint/2010/main" val="1221098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23B3D9-5974-6DF1-41E8-FE8BB3E28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167678"/>
            <a:ext cx="11204448" cy="463610"/>
          </a:xfrm>
        </p:spPr>
        <p:txBody>
          <a:bodyPr/>
          <a:lstStyle/>
          <a:p>
            <a:r>
              <a:rPr lang="en-US"/>
              <a:t>Project Status &amp; Milestones – Data Engineering Track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CF66A7C-FACA-CDF4-CE52-E253CDBB61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828501-58BA-692E-22E4-583AADE806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46" name="Table 4">
            <a:extLst>
              <a:ext uri="{FF2B5EF4-FFF2-40B4-BE49-F238E27FC236}">
                <a16:creationId xmlns:a16="http://schemas.microsoft.com/office/drawing/2014/main" id="{53EA420E-C862-42CC-AD0A-0CD5E908B4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4885315"/>
              </p:ext>
            </p:extLst>
          </p:nvPr>
        </p:nvGraphicFramePr>
        <p:xfrm>
          <a:off x="746988" y="886693"/>
          <a:ext cx="10951236" cy="5250057"/>
        </p:xfrm>
        <a:graphic>
          <a:graphicData uri="http://schemas.openxmlformats.org/drawingml/2006/table">
            <a:tbl>
              <a:tblPr firstRow="1" bandRow="1"/>
              <a:tblGrid>
                <a:gridCol w="330653">
                  <a:extLst>
                    <a:ext uri="{9D8B030D-6E8A-4147-A177-3AD203B41FA5}">
                      <a16:colId xmlns:a16="http://schemas.microsoft.com/office/drawing/2014/main" val="591996495"/>
                    </a:ext>
                  </a:extLst>
                </a:gridCol>
                <a:gridCol w="4353341">
                  <a:extLst>
                    <a:ext uri="{9D8B030D-6E8A-4147-A177-3AD203B41FA5}">
                      <a16:colId xmlns:a16="http://schemas.microsoft.com/office/drawing/2014/main" val="1871347559"/>
                    </a:ext>
                  </a:extLst>
                </a:gridCol>
                <a:gridCol w="1274618">
                  <a:extLst>
                    <a:ext uri="{9D8B030D-6E8A-4147-A177-3AD203B41FA5}">
                      <a16:colId xmlns:a16="http://schemas.microsoft.com/office/drawing/2014/main" val="1440275523"/>
                    </a:ext>
                  </a:extLst>
                </a:gridCol>
                <a:gridCol w="1265382">
                  <a:extLst>
                    <a:ext uri="{9D8B030D-6E8A-4147-A177-3AD203B41FA5}">
                      <a16:colId xmlns:a16="http://schemas.microsoft.com/office/drawing/2014/main" val="643326090"/>
                    </a:ext>
                  </a:extLst>
                </a:gridCol>
                <a:gridCol w="1394691">
                  <a:extLst>
                    <a:ext uri="{9D8B030D-6E8A-4147-A177-3AD203B41FA5}">
                      <a16:colId xmlns:a16="http://schemas.microsoft.com/office/drawing/2014/main" val="927228342"/>
                    </a:ext>
                  </a:extLst>
                </a:gridCol>
                <a:gridCol w="2332551">
                  <a:extLst>
                    <a:ext uri="{9D8B030D-6E8A-4147-A177-3AD203B41FA5}">
                      <a16:colId xmlns:a16="http://schemas.microsoft.com/office/drawing/2014/main" val="4023779838"/>
                    </a:ext>
                  </a:extLst>
                </a:gridCol>
              </a:tblGrid>
              <a:tr h="403124">
                <a:tc gridSpan="2">
                  <a:txBody>
                    <a:bodyPr/>
                    <a:lstStyle>
                      <a:lvl1pPr marL="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457189" rtl="0" eaLnBrk="1" latinLnBrk="0" hangingPunct="1">
                        <a:lnSpc>
                          <a:spcPct val="150000"/>
                        </a:lnSpc>
                      </a:pPr>
                      <a:r>
                        <a:rPr lang="en-US" sz="1400" b="1" kern="120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Data Engineering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457189" rtl="0" eaLnBrk="1" latinLnBrk="0" hangingPunct="1"/>
                      <a:r>
                        <a:rPr lang="en-US" sz="1400" b="1" kern="120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Progress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457189" rtl="0" eaLnBrk="1" latinLnBrk="0" hangingPunct="1"/>
                      <a:r>
                        <a:rPr lang="en-US" sz="1400" b="1" kern="120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Risk</a:t>
                      </a:r>
                      <a:r>
                        <a:rPr lang="en-US" sz="1400" b="1" kern="1200" baseline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 Level</a:t>
                      </a:r>
                      <a:endParaRPr lang="en-US" sz="1400" b="1" kern="1200">
                        <a:solidFill>
                          <a:schemeClr val="accent1">
                            <a:lumMod val="50000"/>
                          </a:schemeClr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457189" rtl="0" eaLnBrk="1" latinLnBrk="0" hangingPunct="1"/>
                      <a:r>
                        <a:rPr lang="en-US" sz="1400" b="1" kern="120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Complete</a:t>
                      </a:r>
                      <a:r>
                        <a:rPr lang="en-US" sz="1400" b="1" kern="1200" baseline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 Week</a:t>
                      </a:r>
                      <a:endParaRPr lang="en-US" sz="1400" b="1" kern="1200">
                        <a:solidFill>
                          <a:schemeClr val="accent1">
                            <a:lumMod val="50000"/>
                          </a:schemeClr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457189" rtl="0" eaLnBrk="1" latinLnBrk="0" hangingPunct="1"/>
                      <a:r>
                        <a:rPr lang="en-US" sz="1400" b="1" kern="120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Dependencies &amp; Challenges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054875"/>
                  </a:ext>
                </a:extLst>
              </a:tr>
              <a:tr h="372841">
                <a:tc gridSpan="2"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200" b="1" noProof="1">
                          <a:solidFill>
                            <a:schemeClr val="tx1"/>
                          </a:solidFill>
                        </a:rPr>
                        <a:t>Activity 1 – Create Fact Tables in Athena [Test/Sample]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noProof="1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1926703"/>
                  </a:ext>
                </a:extLst>
              </a:tr>
              <a:tr h="372841"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bg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Account Fact Table &amp; Profile Fact Table</a:t>
                      </a:r>
                      <a:endParaRPr kumimoji="0" lang="en-US" sz="12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200" baseline="0" noProof="1">
                          <a:solidFill>
                            <a:schemeClr val="tx1"/>
                          </a:solidFill>
                        </a:rPr>
                        <a:t>WE 9th</a:t>
                      </a:r>
                      <a:r>
                        <a:rPr lang="en-US" sz="1200" noProof="1">
                          <a:solidFill>
                            <a:schemeClr val="tx1"/>
                          </a:solidFill>
                        </a:rPr>
                        <a:t> September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200" noProof="1">
                          <a:solidFill>
                            <a:schemeClr val="tx1"/>
                          </a:solidFill>
                        </a:rPr>
                        <a:t>Correct Filtering of Data &amp; </a:t>
                      </a:r>
                    </a:p>
                    <a:p>
                      <a:pPr algn="ctr"/>
                      <a:r>
                        <a:rPr lang="en-US" sz="1200" noProof="1">
                          <a:solidFill>
                            <a:schemeClr val="tx1"/>
                          </a:solidFill>
                        </a:rPr>
                        <a:t>Field Level</a:t>
                      </a:r>
                      <a:r>
                        <a:rPr lang="en-US" sz="1200" baseline="0" noProof="1">
                          <a:solidFill>
                            <a:schemeClr val="tx1"/>
                          </a:solidFill>
                        </a:rPr>
                        <a:t> Data </a:t>
                      </a:r>
                      <a:r>
                        <a:rPr lang="en-US" sz="1200" noProof="1">
                          <a:solidFill>
                            <a:schemeClr val="tx1"/>
                          </a:solidFill>
                        </a:rPr>
                        <a:t>Valida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606401"/>
                  </a:ext>
                </a:extLst>
              </a:tr>
              <a:tr h="372841"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bg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Transaction Fact Octa Table &amp; Transaction Fact Adobe Table</a:t>
                      </a:r>
                      <a:endParaRPr kumimoji="0" lang="en-US" sz="12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200" baseline="0" noProof="1">
                          <a:solidFill>
                            <a:schemeClr val="tx1"/>
                          </a:solidFill>
                        </a:rPr>
                        <a:t>WE 16</a:t>
                      </a:r>
                      <a:r>
                        <a:rPr lang="en-US" sz="1200" baseline="30000" noProof="1">
                          <a:solidFill>
                            <a:schemeClr val="tx1"/>
                          </a:solidFill>
                        </a:rPr>
                        <a:t>th</a:t>
                      </a:r>
                      <a:r>
                        <a:rPr lang="en-US" sz="1200" baseline="0" noProof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200" noProof="1">
                          <a:solidFill>
                            <a:schemeClr val="tx1"/>
                          </a:solidFill>
                        </a:rPr>
                        <a:t>September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2082998"/>
                  </a:ext>
                </a:extLst>
              </a:tr>
              <a:tr h="372841">
                <a:tc gridSpan="2"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noProof="1">
                          <a:solidFill>
                            <a:schemeClr val="tx1"/>
                          </a:solidFill>
                        </a:rPr>
                        <a:t>Activity 2 – </a:t>
                      </a:r>
                      <a:r>
                        <a:rPr lang="en-US" sz="1200" b="1" kern="1200" noProof="1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Upload Fact</a:t>
                      </a:r>
                      <a:r>
                        <a:rPr lang="en-US" sz="1200" b="1" kern="1200" baseline="0" noProof="1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 Tables</a:t>
                      </a:r>
                      <a:r>
                        <a:rPr lang="en-US" sz="1200" b="1" kern="1200" noProof="1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 in S3 - CIAM_DATAMODEL [Test files]</a:t>
                      </a:r>
                      <a:endParaRPr lang="da-DK" sz="1200" b="1" kern="1200" noProof="1">
                        <a:solidFill>
                          <a:schemeClr val="tx1"/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4485023"/>
                  </a:ext>
                </a:extLst>
              </a:tr>
              <a:tr h="372841"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Upload Fact Tables to S3 Bucket Storage</a:t>
                      </a:r>
                      <a:endParaRPr kumimoji="0" lang="en-US" sz="12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200" noProof="1">
                          <a:solidFill>
                            <a:schemeClr val="tx1"/>
                          </a:solidFill>
                        </a:rPr>
                        <a:t>WE 23</a:t>
                      </a:r>
                      <a:r>
                        <a:rPr lang="en-US" sz="1200" baseline="30000" noProof="1">
                          <a:solidFill>
                            <a:schemeClr val="tx1"/>
                          </a:solidFill>
                        </a:rPr>
                        <a:t>rd</a:t>
                      </a:r>
                      <a:r>
                        <a:rPr lang="en-US" sz="1200" noProof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200" baseline="0" noProof="1">
                          <a:solidFill>
                            <a:schemeClr val="tx1"/>
                          </a:solidFill>
                        </a:rPr>
                        <a:t>September</a:t>
                      </a:r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200" noProof="1">
                          <a:solidFill>
                            <a:schemeClr val="tx1"/>
                          </a:solidFill>
                        </a:rPr>
                        <a:t>Data Transformation &amp; Validation using AWS Quicksigh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3436198"/>
                  </a:ext>
                </a:extLst>
              </a:tr>
              <a:tr h="372841"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1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Validation and Transformation of Activity Fact Tables</a:t>
                      </a:r>
                      <a:endParaRPr kumimoji="0" lang="en-US" sz="12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1">
                          <a:solidFill>
                            <a:schemeClr val="tx1"/>
                          </a:solidFill>
                        </a:rPr>
                        <a:t>Ongoing</a:t>
                      </a:r>
                      <a:endParaRPr lang="en-US" sz="1200" baseline="0" noProof="1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algn="ctr" defTabSz="457189" rtl="0" eaLnBrk="1" latinLnBrk="0" hangingPunct="1"/>
                      <a:endParaRPr lang="en-US" sz="1200" kern="1200" noProof="1">
                        <a:solidFill>
                          <a:schemeClr val="tx1"/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4437463"/>
                  </a:ext>
                </a:extLst>
              </a:tr>
              <a:tr h="372841">
                <a:tc gridSpan="2"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noProof="1">
                          <a:solidFill>
                            <a:schemeClr val="tx1"/>
                          </a:solidFill>
                        </a:rPr>
                        <a:t>Create Partition &amp; Load - External Table in AWS</a:t>
                      </a:r>
                      <a:r>
                        <a:rPr lang="en-US" sz="1200" b="1" baseline="0" noProof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200" b="1" noProof="1">
                          <a:solidFill>
                            <a:schemeClr val="tx1"/>
                          </a:solidFill>
                        </a:rPr>
                        <a:t>Athe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noProof="1"/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1103034"/>
                  </a:ext>
                </a:extLst>
              </a:tr>
              <a:tr h="372841"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Loading Incremental Data into the External Tables</a:t>
                      </a:r>
                      <a:endParaRPr kumimoji="0" lang="en-US" sz="12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2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WE 25</a:t>
                      </a:r>
                      <a:r>
                        <a:rPr kumimoji="0" lang="en-US" sz="1200" b="0" i="0" u="none" strike="noStrike" kern="1200" cap="none" spc="0" normalizeH="0" baseline="3000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th</a:t>
                      </a:r>
                      <a:r>
                        <a:rPr kumimoji="0" lang="en-US" sz="12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 October</a:t>
                      </a:r>
                      <a:endParaRPr lang="en-US" sz="1200" noProof="1"/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457189" rtl="0" eaLnBrk="1" latinLnBrk="0" hangingPunct="1"/>
                      <a:r>
                        <a:rPr lang="en-US" sz="1200" kern="1200" noProof="1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Access may take upto</a:t>
                      </a:r>
                      <a:r>
                        <a:rPr lang="en-US" sz="1200" kern="1200" baseline="0" noProof="1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kern="1200" noProof="1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2-3 weeks may delay these activiti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8339243"/>
                  </a:ext>
                </a:extLst>
              </a:tr>
              <a:tr h="3728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Complete data update in all Fact Tables</a:t>
                      </a:r>
                      <a:endParaRPr kumimoji="0" lang="en-US" sz="12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E 25</a:t>
                      </a:r>
                      <a:r>
                        <a:rPr kumimoji="0" lang="en-US" sz="1200" b="0" i="0" u="none" strike="noStrike" kern="1200" cap="none" spc="0" normalizeH="0" baseline="3000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</a:t>
                      </a:r>
                      <a:r>
                        <a:rPr kumimoji="0" lang="en-US" sz="12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October</a:t>
                      </a:r>
                      <a:endParaRPr lang="en-US" sz="1200" noProof="1"/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7396125"/>
                  </a:ext>
                </a:extLst>
              </a:tr>
              <a:tr h="372841">
                <a:tc gridSpan="2"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noProof="1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Create Data ETL Pipeline in</a:t>
                      </a:r>
                      <a:r>
                        <a:rPr lang="en-US" sz="1200" b="1" kern="1200" baseline="0" noProof="1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 AWS Glue</a:t>
                      </a:r>
                      <a:endParaRPr lang="en-US" sz="1200" b="1" kern="1200" noProof="1">
                        <a:solidFill>
                          <a:schemeClr val="tx1"/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a-DK" sz="1800" b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uLnTx/>
                        <a:uFillTx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noProof="1"/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3575882"/>
                  </a:ext>
                </a:extLst>
              </a:tr>
              <a:tr h="3728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reate IAM Role for AWS Glue</a:t>
                      </a:r>
                      <a:endParaRPr kumimoji="0" lang="da-DK" sz="1200" b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WE 29</a:t>
                      </a:r>
                      <a:r>
                        <a:rPr kumimoji="0" lang="en-US" sz="1200" b="0" i="0" u="none" strike="noStrike" kern="1200" cap="none" spc="0" normalizeH="0" baseline="3000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st</a:t>
                      </a:r>
                      <a:r>
                        <a:rPr kumimoji="0" lang="en-US" sz="12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 November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457189" rtl="0" eaLnBrk="1" latinLnBrk="0" hangingPunct="1"/>
                      <a:r>
                        <a:rPr lang="en-US" sz="1200" kern="1200" noProof="1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Dependency on Previous Tasks,</a:t>
                      </a:r>
                      <a:r>
                        <a:rPr lang="en-US" sz="1200" kern="1200" baseline="0" noProof="1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kern="1200" noProof="1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AWS Glue Access may delay the Timelin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8521403"/>
                  </a:ext>
                </a:extLst>
              </a:tr>
              <a:tr h="3728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AWS Glue Crawler for Data Schema &amp; Metadata Tables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E 29</a:t>
                      </a:r>
                      <a:r>
                        <a:rPr kumimoji="0" lang="en-US" sz="1200" b="0" i="0" u="none" strike="noStrike" kern="1200" cap="none" spc="0" normalizeH="0" baseline="3000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t</a:t>
                      </a:r>
                      <a:r>
                        <a:rPr kumimoji="0" lang="en-US" sz="12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November</a:t>
                      </a:r>
                      <a:endParaRPr kumimoji="0" lang="en-US" sz="12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6149753"/>
                  </a:ext>
                </a:extLst>
              </a:tr>
              <a:tr h="372841">
                <a:tc gridSpan="2"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noProof="1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Data &amp;</a:t>
                      </a:r>
                      <a:r>
                        <a:rPr lang="en-US" sz="1200" b="1" kern="1200" baseline="0" noProof="1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 Pipeline Testing &amp; Production Deployment</a:t>
                      </a:r>
                      <a:endParaRPr lang="en-US" sz="1200" b="1" kern="1200" noProof="1">
                        <a:solidFill>
                          <a:schemeClr val="tx1"/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a-DK" sz="1800" b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uLnTx/>
                        <a:uFillTx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E 6</a:t>
                      </a:r>
                      <a:r>
                        <a:rPr kumimoji="0" lang="en-US" sz="1200" b="0" i="0" u="none" strike="noStrike" kern="1200" cap="none" spc="0" normalizeH="0" baseline="3000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t</a:t>
                      </a:r>
                      <a:r>
                        <a:rPr kumimoji="0" lang="en-US" sz="12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ecember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189" rtl="0" eaLnBrk="1" latinLnBrk="0" hangingPunct="1"/>
                      <a:r>
                        <a:rPr lang="en-US" sz="1200" kern="1200" noProof="1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TB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9402842"/>
                  </a:ext>
                </a:extLst>
              </a:tr>
            </a:tbl>
          </a:graphicData>
        </a:graphic>
      </p:graphicFrame>
      <p:sp>
        <p:nvSpPr>
          <p:cNvPr id="51" name="Rectangle: Rounded Corners 13">
            <a:extLst>
              <a:ext uri="{FF2B5EF4-FFF2-40B4-BE49-F238E27FC236}">
                <a16:creationId xmlns:a16="http://schemas.microsoft.com/office/drawing/2014/main" id="{E415017B-CFE6-4C23-8D29-5128C86E4DB7}"/>
              </a:ext>
            </a:extLst>
          </p:cNvPr>
          <p:cNvSpPr/>
          <p:nvPr/>
        </p:nvSpPr>
        <p:spPr>
          <a:xfrm>
            <a:off x="5461131" y="1724582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A2B96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>
                <a:solidFill>
                  <a:prstClr val="black">
                    <a:lumMod val="85000"/>
                    <a:lumOff val="15000"/>
                  </a:prstClr>
                </a:solidFill>
              </a:rPr>
              <a:t>Complete</a:t>
            </a:r>
          </a:p>
        </p:txBody>
      </p:sp>
      <p:sp>
        <p:nvSpPr>
          <p:cNvPr id="52" name="Rectangle: Rounded Corners 14">
            <a:extLst>
              <a:ext uri="{FF2B5EF4-FFF2-40B4-BE49-F238E27FC236}">
                <a16:creationId xmlns:a16="http://schemas.microsoft.com/office/drawing/2014/main" id="{C9A2C356-86EB-4E0D-AC31-2CF89823DAD6}"/>
              </a:ext>
            </a:extLst>
          </p:cNvPr>
          <p:cNvSpPr/>
          <p:nvPr/>
        </p:nvSpPr>
        <p:spPr>
          <a:xfrm>
            <a:off x="6729192" y="1724582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A2B96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0">
                <a:solidFill>
                  <a:prstClr val="black">
                    <a:lumMod val="85000"/>
                    <a:lumOff val="15000"/>
                  </a:prstClr>
                </a:solidFill>
              </a:rPr>
              <a:t>Low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</a:endParaRPr>
          </a:p>
        </p:txBody>
      </p:sp>
      <p:sp>
        <p:nvSpPr>
          <p:cNvPr id="54" name="Rectangle: Rounded Corners 16">
            <a:extLst>
              <a:ext uri="{FF2B5EF4-FFF2-40B4-BE49-F238E27FC236}">
                <a16:creationId xmlns:a16="http://schemas.microsoft.com/office/drawing/2014/main" id="{12E7BE95-014E-4823-A0B4-D90A77AC48FF}"/>
              </a:ext>
            </a:extLst>
          </p:cNvPr>
          <p:cNvSpPr/>
          <p:nvPr/>
        </p:nvSpPr>
        <p:spPr>
          <a:xfrm>
            <a:off x="5461131" y="2103626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A2B96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>
                <a:solidFill>
                  <a:prstClr val="black">
                    <a:lumMod val="85000"/>
                    <a:lumOff val="15000"/>
                  </a:prstClr>
                </a:solidFill>
              </a:rPr>
              <a:t>Complete</a:t>
            </a:r>
          </a:p>
        </p:txBody>
      </p:sp>
      <p:sp>
        <p:nvSpPr>
          <p:cNvPr id="55" name="Rectangle: Rounded Corners 17">
            <a:extLst>
              <a:ext uri="{FF2B5EF4-FFF2-40B4-BE49-F238E27FC236}">
                <a16:creationId xmlns:a16="http://schemas.microsoft.com/office/drawing/2014/main" id="{608725C6-779D-4773-9EF4-9F76B0CD497E}"/>
              </a:ext>
            </a:extLst>
          </p:cNvPr>
          <p:cNvSpPr/>
          <p:nvPr/>
        </p:nvSpPr>
        <p:spPr>
          <a:xfrm>
            <a:off x="6729192" y="2103626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A2B96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0">
                <a:solidFill>
                  <a:prstClr val="black">
                    <a:lumMod val="85000"/>
                    <a:lumOff val="15000"/>
                  </a:prstClr>
                </a:solidFill>
              </a:rPr>
              <a:t>Low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</a:endParaRPr>
          </a:p>
        </p:txBody>
      </p:sp>
      <p:sp>
        <p:nvSpPr>
          <p:cNvPr id="60" name="Rectangle: Rounded Corners 22">
            <a:extLst>
              <a:ext uri="{FF2B5EF4-FFF2-40B4-BE49-F238E27FC236}">
                <a16:creationId xmlns:a16="http://schemas.microsoft.com/office/drawing/2014/main" id="{F8E14D53-84FD-40DB-9DD1-400E377FA728}"/>
              </a:ext>
            </a:extLst>
          </p:cNvPr>
          <p:cNvSpPr/>
          <p:nvPr/>
        </p:nvSpPr>
        <p:spPr>
          <a:xfrm>
            <a:off x="5461131" y="2843226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A2B96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>
                <a:solidFill>
                  <a:prstClr val="black">
                    <a:lumMod val="85000"/>
                    <a:lumOff val="15000"/>
                  </a:prstClr>
                </a:solidFill>
              </a:rPr>
              <a:t>Complete</a:t>
            </a:r>
          </a:p>
        </p:txBody>
      </p:sp>
      <p:sp>
        <p:nvSpPr>
          <p:cNvPr id="61" name="Rectangle: Rounded Corners 23">
            <a:extLst>
              <a:ext uri="{FF2B5EF4-FFF2-40B4-BE49-F238E27FC236}">
                <a16:creationId xmlns:a16="http://schemas.microsoft.com/office/drawing/2014/main" id="{497144BE-473B-4BEB-A7D8-4E3C55F21E44}"/>
              </a:ext>
            </a:extLst>
          </p:cNvPr>
          <p:cNvSpPr/>
          <p:nvPr/>
        </p:nvSpPr>
        <p:spPr>
          <a:xfrm>
            <a:off x="6729192" y="2843226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A2B96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>
                <a:solidFill>
                  <a:prstClr val="black">
                    <a:lumMod val="85000"/>
                    <a:lumOff val="15000"/>
                  </a:prstClr>
                </a:solidFill>
              </a:rPr>
              <a:t>Low</a:t>
            </a:r>
          </a:p>
        </p:txBody>
      </p:sp>
      <p:sp>
        <p:nvSpPr>
          <p:cNvPr id="63" name="Rectangle: Rounded Corners 25">
            <a:extLst>
              <a:ext uri="{FF2B5EF4-FFF2-40B4-BE49-F238E27FC236}">
                <a16:creationId xmlns:a16="http://schemas.microsoft.com/office/drawing/2014/main" id="{F28709C4-A97F-4361-AB00-061E6CDF0F22}"/>
              </a:ext>
            </a:extLst>
          </p:cNvPr>
          <p:cNvSpPr/>
          <p:nvPr/>
        </p:nvSpPr>
        <p:spPr>
          <a:xfrm>
            <a:off x="5461131" y="3213032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F7931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>
                <a:solidFill>
                  <a:prstClr val="black">
                    <a:lumMod val="85000"/>
                    <a:lumOff val="15000"/>
                  </a:prstClr>
                </a:solidFill>
              </a:rPr>
              <a:t>WIP</a:t>
            </a:r>
          </a:p>
        </p:txBody>
      </p:sp>
      <p:sp>
        <p:nvSpPr>
          <p:cNvPr id="64" name="Rectangle: Rounded Corners 26">
            <a:extLst>
              <a:ext uri="{FF2B5EF4-FFF2-40B4-BE49-F238E27FC236}">
                <a16:creationId xmlns:a16="http://schemas.microsoft.com/office/drawing/2014/main" id="{E413E375-01D2-421D-A856-FF87114076FA}"/>
              </a:ext>
            </a:extLst>
          </p:cNvPr>
          <p:cNvSpPr/>
          <p:nvPr/>
        </p:nvSpPr>
        <p:spPr>
          <a:xfrm>
            <a:off x="6729192" y="3213032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A2B96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>
                <a:solidFill>
                  <a:prstClr val="black">
                    <a:lumMod val="85000"/>
                    <a:lumOff val="15000"/>
                  </a:prstClr>
                </a:solidFill>
              </a:rPr>
              <a:t>Low</a:t>
            </a:r>
          </a:p>
        </p:txBody>
      </p:sp>
      <p:sp>
        <p:nvSpPr>
          <p:cNvPr id="75" name="Graphic 3" descr="Checkmark">
            <a:extLst>
              <a:ext uri="{FF2B5EF4-FFF2-40B4-BE49-F238E27FC236}">
                <a16:creationId xmlns:a16="http://schemas.microsoft.com/office/drawing/2014/main" id="{D63D3523-A25B-4BE7-8B9A-5A45C7D5D402}"/>
              </a:ext>
            </a:extLst>
          </p:cNvPr>
          <p:cNvSpPr/>
          <p:nvPr/>
        </p:nvSpPr>
        <p:spPr>
          <a:xfrm>
            <a:off x="425583" y="1744790"/>
            <a:ext cx="254933" cy="196364"/>
          </a:xfrm>
          <a:custGeom>
            <a:avLst/>
            <a:gdLst>
              <a:gd name="connsiteX0" fmla="*/ 228620 w 250586"/>
              <a:gd name="connsiteY0" fmla="*/ 0 h 176007"/>
              <a:gd name="connsiteX1" fmla="*/ 89767 w 250586"/>
              <a:gd name="connsiteY1" fmla="*/ 131260 h 176007"/>
              <a:gd name="connsiteX2" fmla="*/ 23052 w 250586"/>
              <a:gd name="connsiteY2" fmla="*/ 62918 h 176007"/>
              <a:gd name="connsiteX3" fmla="*/ 0 w 250586"/>
              <a:gd name="connsiteY3" fmla="*/ 84885 h 176007"/>
              <a:gd name="connsiteX4" fmla="*/ 88682 w 250586"/>
              <a:gd name="connsiteY4" fmla="*/ 176007 h 176007"/>
              <a:gd name="connsiteX5" fmla="*/ 112005 w 250586"/>
              <a:gd name="connsiteY5" fmla="*/ 154312 h 176007"/>
              <a:gd name="connsiteX6" fmla="*/ 250587 w 250586"/>
              <a:gd name="connsiteY6" fmla="*/ 22781 h 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0586" h="176007">
                <a:moveTo>
                  <a:pt x="228620" y="0"/>
                </a:moveTo>
                <a:lnTo>
                  <a:pt x="89767" y="131260"/>
                </a:lnTo>
                <a:lnTo>
                  <a:pt x="23052" y="62918"/>
                </a:lnTo>
                <a:lnTo>
                  <a:pt x="0" y="84885"/>
                </a:lnTo>
                <a:lnTo>
                  <a:pt x="88682" y="176007"/>
                </a:lnTo>
                <a:lnTo>
                  <a:pt x="112005" y="154312"/>
                </a:lnTo>
                <a:lnTo>
                  <a:pt x="250587" y="22781"/>
                </a:lnTo>
                <a:close/>
              </a:path>
            </a:pathLst>
          </a:custGeom>
          <a:solidFill>
            <a:schemeClr val="accent3"/>
          </a:solidFill>
          <a:ln w="267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6" name="Graphic 4" descr="Checkmark">
            <a:extLst>
              <a:ext uri="{FF2B5EF4-FFF2-40B4-BE49-F238E27FC236}">
                <a16:creationId xmlns:a16="http://schemas.microsoft.com/office/drawing/2014/main" id="{E4C028EE-A963-4398-81E5-E802D2DA5A35}"/>
              </a:ext>
            </a:extLst>
          </p:cNvPr>
          <p:cNvSpPr/>
          <p:nvPr/>
        </p:nvSpPr>
        <p:spPr>
          <a:xfrm>
            <a:off x="425583" y="2112967"/>
            <a:ext cx="254933" cy="196364"/>
          </a:xfrm>
          <a:custGeom>
            <a:avLst/>
            <a:gdLst>
              <a:gd name="connsiteX0" fmla="*/ 228620 w 250586"/>
              <a:gd name="connsiteY0" fmla="*/ 0 h 176007"/>
              <a:gd name="connsiteX1" fmla="*/ 89767 w 250586"/>
              <a:gd name="connsiteY1" fmla="*/ 131260 h 176007"/>
              <a:gd name="connsiteX2" fmla="*/ 23052 w 250586"/>
              <a:gd name="connsiteY2" fmla="*/ 62918 h 176007"/>
              <a:gd name="connsiteX3" fmla="*/ 0 w 250586"/>
              <a:gd name="connsiteY3" fmla="*/ 84885 h 176007"/>
              <a:gd name="connsiteX4" fmla="*/ 88682 w 250586"/>
              <a:gd name="connsiteY4" fmla="*/ 176007 h 176007"/>
              <a:gd name="connsiteX5" fmla="*/ 112005 w 250586"/>
              <a:gd name="connsiteY5" fmla="*/ 154312 h 176007"/>
              <a:gd name="connsiteX6" fmla="*/ 250587 w 250586"/>
              <a:gd name="connsiteY6" fmla="*/ 22781 h 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0586" h="176007">
                <a:moveTo>
                  <a:pt x="228620" y="0"/>
                </a:moveTo>
                <a:lnTo>
                  <a:pt x="89767" y="131260"/>
                </a:lnTo>
                <a:lnTo>
                  <a:pt x="23052" y="62918"/>
                </a:lnTo>
                <a:lnTo>
                  <a:pt x="0" y="84885"/>
                </a:lnTo>
                <a:lnTo>
                  <a:pt x="88682" y="176007"/>
                </a:lnTo>
                <a:lnTo>
                  <a:pt x="112005" y="154312"/>
                </a:lnTo>
                <a:lnTo>
                  <a:pt x="250587" y="22781"/>
                </a:lnTo>
                <a:close/>
              </a:path>
            </a:pathLst>
          </a:custGeom>
          <a:solidFill>
            <a:schemeClr val="accent3"/>
          </a:solidFill>
          <a:ln w="267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7" name="Graphic 5" descr="Checkmark">
            <a:extLst>
              <a:ext uri="{FF2B5EF4-FFF2-40B4-BE49-F238E27FC236}">
                <a16:creationId xmlns:a16="http://schemas.microsoft.com/office/drawing/2014/main" id="{74CEBFA9-E10A-4A01-BC2D-62A7E277129D}"/>
              </a:ext>
            </a:extLst>
          </p:cNvPr>
          <p:cNvSpPr/>
          <p:nvPr/>
        </p:nvSpPr>
        <p:spPr>
          <a:xfrm>
            <a:off x="425583" y="2896776"/>
            <a:ext cx="254933" cy="196364"/>
          </a:xfrm>
          <a:custGeom>
            <a:avLst/>
            <a:gdLst>
              <a:gd name="connsiteX0" fmla="*/ 228620 w 250586"/>
              <a:gd name="connsiteY0" fmla="*/ 0 h 176007"/>
              <a:gd name="connsiteX1" fmla="*/ 89767 w 250586"/>
              <a:gd name="connsiteY1" fmla="*/ 131260 h 176007"/>
              <a:gd name="connsiteX2" fmla="*/ 23052 w 250586"/>
              <a:gd name="connsiteY2" fmla="*/ 62918 h 176007"/>
              <a:gd name="connsiteX3" fmla="*/ 0 w 250586"/>
              <a:gd name="connsiteY3" fmla="*/ 84885 h 176007"/>
              <a:gd name="connsiteX4" fmla="*/ 88682 w 250586"/>
              <a:gd name="connsiteY4" fmla="*/ 176007 h 176007"/>
              <a:gd name="connsiteX5" fmla="*/ 112005 w 250586"/>
              <a:gd name="connsiteY5" fmla="*/ 154312 h 176007"/>
              <a:gd name="connsiteX6" fmla="*/ 250587 w 250586"/>
              <a:gd name="connsiteY6" fmla="*/ 22781 h 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0586" h="176007">
                <a:moveTo>
                  <a:pt x="228620" y="0"/>
                </a:moveTo>
                <a:lnTo>
                  <a:pt x="89767" y="131260"/>
                </a:lnTo>
                <a:lnTo>
                  <a:pt x="23052" y="62918"/>
                </a:lnTo>
                <a:lnTo>
                  <a:pt x="0" y="84885"/>
                </a:lnTo>
                <a:lnTo>
                  <a:pt x="88682" y="176007"/>
                </a:lnTo>
                <a:lnTo>
                  <a:pt x="112005" y="154312"/>
                </a:lnTo>
                <a:lnTo>
                  <a:pt x="250587" y="22781"/>
                </a:lnTo>
                <a:close/>
              </a:path>
            </a:pathLst>
          </a:custGeom>
          <a:solidFill>
            <a:schemeClr val="accent3"/>
          </a:solidFill>
          <a:ln w="267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8" name="Graphic 6" descr="Checkmark">
            <a:extLst>
              <a:ext uri="{FF2B5EF4-FFF2-40B4-BE49-F238E27FC236}">
                <a16:creationId xmlns:a16="http://schemas.microsoft.com/office/drawing/2014/main" id="{A642DABA-EFF8-4058-996A-20E7D9C33DB1}"/>
              </a:ext>
            </a:extLst>
          </p:cNvPr>
          <p:cNvSpPr/>
          <p:nvPr/>
        </p:nvSpPr>
        <p:spPr>
          <a:xfrm>
            <a:off x="425583" y="3264953"/>
            <a:ext cx="254933" cy="196364"/>
          </a:xfrm>
          <a:custGeom>
            <a:avLst/>
            <a:gdLst>
              <a:gd name="connsiteX0" fmla="*/ 228620 w 250586"/>
              <a:gd name="connsiteY0" fmla="*/ 0 h 176007"/>
              <a:gd name="connsiteX1" fmla="*/ 89767 w 250586"/>
              <a:gd name="connsiteY1" fmla="*/ 131260 h 176007"/>
              <a:gd name="connsiteX2" fmla="*/ 23052 w 250586"/>
              <a:gd name="connsiteY2" fmla="*/ 62918 h 176007"/>
              <a:gd name="connsiteX3" fmla="*/ 0 w 250586"/>
              <a:gd name="connsiteY3" fmla="*/ 84885 h 176007"/>
              <a:gd name="connsiteX4" fmla="*/ 88682 w 250586"/>
              <a:gd name="connsiteY4" fmla="*/ 176007 h 176007"/>
              <a:gd name="connsiteX5" fmla="*/ 112005 w 250586"/>
              <a:gd name="connsiteY5" fmla="*/ 154312 h 176007"/>
              <a:gd name="connsiteX6" fmla="*/ 250587 w 250586"/>
              <a:gd name="connsiteY6" fmla="*/ 22781 h 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0586" h="176007">
                <a:moveTo>
                  <a:pt x="228620" y="0"/>
                </a:moveTo>
                <a:lnTo>
                  <a:pt x="89767" y="131260"/>
                </a:lnTo>
                <a:lnTo>
                  <a:pt x="23052" y="62918"/>
                </a:lnTo>
                <a:lnTo>
                  <a:pt x="0" y="84885"/>
                </a:lnTo>
                <a:lnTo>
                  <a:pt x="88682" y="176007"/>
                </a:lnTo>
                <a:lnTo>
                  <a:pt x="112005" y="154312"/>
                </a:lnTo>
                <a:lnTo>
                  <a:pt x="250587" y="22781"/>
                </a:lnTo>
                <a:close/>
              </a:path>
            </a:pathLst>
          </a:custGeom>
          <a:solidFill>
            <a:schemeClr val="accent3"/>
          </a:solidFill>
          <a:ln w="267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85" name="Rectangle: Rounded Corners 10">
            <a:extLst>
              <a:ext uri="{FF2B5EF4-FFF2-40B4-BE49-F238E27FC236}">
                <a16:creationId xmlns:a16="http://schemas.microsoft.com/office/drawing/2014/main" id="{D764091E-C2D2-468A-A73B-DB60B887EA62}"/>
              </a:ext>
            </a:extLst>
          </p:cNvPr>
          <p:cNvSpPr/>
          <p:nvPr/>
        </p:nvSpPr>
        <p:spPr>
          <a:xfrm>
            <a:off x="5461131" y="3952286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C1301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algn="ctr" defTabSz="914400">
              <a:defRPr/>
            </a:pPr>
            <a:r>
              <a:rPr lang="en-US" sz="1200" kern="0">
                <a:solidFill>
                  <a:prstClr val="white"/>
                </a:solidFill>
              </a:rPr>
              <a:t>Not started</a:t>
            </a:r>
          </a:p>
        </p:txBody>
      </p:sp>
      <p:sp>
        <p:nvSpPr>
          <p:cNvPr id="86" name="Rectangle: Rounded Corners 11">
            <a:extLst>
              <a:ext uri="{FF2B5EF4-FFF2-40B4-BE49-F238E27FC236}">
                <a16:creationId xmlns:a16="http://schemas.microsoft.com/office/drawing/2014/main" id="{DBDAD6C8-EA4D-41DE-809E-7E5698F64AB8}"/>
              </a:ext>
            </a:extLst>
          </p:cNvPr>
          <p:cNvSpPr/>
          <p:nvPr/>
        </p:nvSpPr>
        <p:spPr>
          <a:xfrm>
            <a:off x="6729192" y="3952286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F7931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>
                <a:solidFill>
                  <a:prstClr val="black">
                    <a:lumMod val="85000"/>
                    <a:lumOff val="15000"/>
                  </a:prstClr>
                </a:solidFill>
              </a:rPr>
              <a:t>High</a:t>
            </a:r>
          </a:p>
        </p:txBody>
      </p:sp>
      <p:sp>
        <p:nvSpPr>
          <p:cNvPr id="88" name="Rectangle: Rounded Corners 13">
            <a:extLst>
              <a:ext uri="{FF2B5EF4-FFF2-40B4-BE49-F238E27FC236}">
                <a16:creationId xmlns:a16="http://schemas.microsoft.com/office/drawing/2014/main" id="{E415017B-CFE6-4C23-8D29-5128C86E4DB7}"/>
              </a:ext>
            </a:extLst>
          </p:cNvPr>
          <p:cNvSpPr/>
          <p:nvPr/>
        </p:nvSpPr>
        <p:spPr>
          <a:xfrm>
            <a:off x="5461131" y="4331325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C1301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algn="ctr" defTabSz="914400">
              <a:defRPr/>
            </a:pPr>
            <a:r>
              <a:rPr lang="en-US" sz="1200" kern="0">
                <a:solidFill>
                  <a:prstClr val="white"/>
                </a:solidFill>
              </a:rPr>
              <a:t>Not started</a:t>
            </a:r>
          </a:p>
        </p:txBody>
      </p:sp>
      <p:sp>
        <p:nvSpPr>
          <p:cNvPr id="89" name="Rectangle: Rounded Corners 14">
            <a:extLst>
              <a:ext uri="{FF2B5EF4-FFF2-40B4-BE49-F238E27FC236}">
                <a16:creationId xmlns:a16="http://schemas.microsoft.com/office/drawing/2014/main" id="{C9A2C356-86EB-4E0D-AC31-2CF89823DAD6}"/>
              </a:ext>
            </a:extLst>
          </p:cNvPr>
          <p:cNvSpPr/>
          <p:nvPr/>
        </p:nvSpPr>
        <p:spPr>
          <a:xfrm>
            <a:off x="6729192" y="4331325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F7931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>
                <a:solidFill>
                  <a:prstClr val="black">
                    <a:lumMod val="85000"/>
                    <a:lumOff val="15000"/>
                  </a:prstClr>
                </a:solidFill>
              </a:rPr>
              <a:t>High</a:t>
            </a:r>
          </a:p>
        </p:txBody>
      </p:sp>
      <p:sp>
        <p:nvSpPr>
          <p:cNvPr id="94" name="Rectangle: Rounded Corners 19">
            <a:extLst>
              <a:ext uri="{FF2B5EF4-FFF2-40B4-BE49-F238E27FC236}">
                <a16:creationId xmlns:a16="http://schemas.microsoft.com/office/drawing/2014/main" id="{C2430B2B-A561-4A66-9DAD-308D29EB770F}"/>
              </a:ext>
            </a:extLst>
          </p:cNvPr>
          <p:cNvSpPr/>
          <p:nvPr/>
        </p:nvSpPr>
        <p:spPr>
          <a:xfrm>
            <a:off x="5461131" y="5070931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C1301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>
                <a:solidFill>
                  <a:prstClr val="white"/>
                </a:solidFill>
              </a:rPr>
              <a:t>Not started</a:t>
            </a:r>
          </a:p>
        </p:txBody>
      </p:sp>
      <p:sp>
        <p:nvSpPr>
          <p:cNvPr id="95" name="Rectangle: Rounded Corners 20">
            <a:extLst>
              <a:ext uri="{FF2B5EF4-FFF2-40B4-BE49-F238E27FC236}">
                <a16:creationId xmlns:a16="http://schemas.microsoft.com/office/drawing/2014/main" id="{69B9705E-76FE-48B8-AE75-BC63F5A0D96A}"/>
              </a:ext>
            </a:extLst>
          </p:cNvPr>
          <p:cNvSpPr/>
          <p:nvPr/>
        </p:nvSpPr>
        <p:spPr>
          <a:xfrm>
            <a:off x="6729192" y="5070931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F7931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ea typeface="+mn-ea"/>
                <a:cs typeface="+mn-cs"/>
              </a:rPr>
              <a:t>High</a:t>
            </a:r>
          </a:p>
        </p:txBody>
      </p:sp>
      <p:sp>
        <p:nvSpPr>
          <p:cNvPr id="97" name="Rectangle: Rounded Corners 22">
            <a:extLst>
              <a:ext uri="{FF2B5EF4-FFF2-40B4-BE49-F238E27FC236}">
                <a16:creationId xmlns:a16="http://schemas.microsoft.com/office/drawing/2014/main" id="{F8E14D53-84FD-40DB-9DD1-400E377FA728}"/>
              </a:ext>
            </a:extLst>
          </p:cNvPr>
          <p:cNvSpPr/>
          <p:nvPr/>
        </p:nvSpPr>
        <p:spPr>
          <a:xfrm>
            <a:off x="5461131" y="5449970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C1301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>
                <a:solidFill>
                  <a:prstClr val="white"/>
                </a:solidFill>
              </a:rPr>
              <a:t>Not started</a:t>
            </a:r>
          </a:p>
        </p:txBody>
      </p:sp>
      <p:sp>
        <p:nvSpPr>
          <p:cNvPr id="98" name="Rectangle: Rounded Corners 23">
            <a:extLst>
              <a:ext uri="{FF2B5EF4-FFF2-40B4-BE49-F238E27FC236}">
                <a16:creationId xmlns:a16="http://schemas.microsoft.com/office/drawing/2014/main" id="{497144BE-473B-4BEB-A7D8-4E3C55F21E44}"/>
              </a:ext>
            </a:extLst>
          </p:cNvPr>
          <p:cNvSpPr/>
          <p:nvPr/>
        </p:nvSpPr>
        <p:spPr>
          <a:xfrm>
            <a:off x="6729192" y="5449970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F7931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algn="ctr" defTabSz="914400">
              <a:defRPr/>
            </a:pPr>
            <a:r>
              <a:rPr lang="en-US" sz="1200" kern="0">
                <a:solidFill>
                  <a:prstClr val="black">
                    <a:lumMod val="85000"/>
                    <a:lumOff val="15000"/>
                  </a:prstClr>
                </a:solidFill>
              </a:rPr>
              <a:t>High</a:t>
            </a:r>
          </a:p>
        </p:txBody>
      </p:sp>
      <p:sp>
        <p:nvSpPr>
          <p:cNvPr id="100" name="Rectangle: Rounded Corners 25">
            <a:extLst>
              <a:ext uri="{FF2B5EF4-FFF2-40B4-BE49-F238E27FC236}">
                <a16:creationId xmlns:a16="http://schemas.microsoft.com/office/drawing/2014/main" id="{F28709C4-A97F-4361-AB00-061E6CDF0F22}"/>
              </a:ext>
            </a:extLst>
          </p:cNvPr>
          <p:cNvSpPr/>
          <p:nvPr/>
        </p:nvSpPr>
        <p:spPr>
          <a:xfrm>
            <a:off x="5461131" y="5829014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C1301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>
                <a:solidFill>
                  <a:prstClr val="white"/>
                </a:solidFill>
              </a:rPr>
              <a:t>Not started</a:t>
            </a:r>
          </a:p>
        </p:txBody>
      </p:sp>
      <p:sp>
        <p:nvSpPr>
          <p:cNvPr id="101" name="Rectangle: Rounded Corners 26">
            <a:extLst>
              <a:ext uri="{FF2B5EF4-FFF2-40B4-BE49-F238E27FC236}">
                <a16:creationId xmlns:a16="http://schemas.microsoft.com/office/drawing/2014/main" id="{E413E375-01D2-421D-A856-FF87114076FA}"/>
              </a:ext>
            </a:extLst>
          </p:cNvPr>
          <p:cNvSpPr/>
          <p:nvPr/>
        </p:nvSpPr>
        <p:spPr>
          <a:xfrm>
            <a:off x="6729192" y="5829014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F7931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algn="ctr" defTabSz="914400">
              <a:defRPr/>
            </a:pPr>
            <a:r>
              <a:rPr lang="en-US" sz="1200" kern="0">
                <a:solidFill>
                  <a:prstClr val="black">
                    <a:lumMod val="85000"/>
                    <a:lumOff val="15000"/>
                  </a:prstClr>
                </a:solidFill>
              </a:rPr>
              <a:t>Medium</a:t>
            </a:r>
          </a:p>
        </p:txBody>
      </p:sp>
      <p:sp>
        <p:nvSpPr>
          <p:cNvPr id="102" name="Graphic 3" descr="Checkmark">
            <a:extLst>
              <a:ext uri="{FF2B5EF4-FFF2-40B4-BE49-F238E27FC236}">
                <a16:creationId xmlns:a16="http://schemas.microsoft.com/office/drawing/2014/main" id="{D63D3523-A25B-4BE7-8B9A-5A45C7D5D402}"/>
              </a:ext>
            </a:extLst>
          </p:cNvPr>
          <p:cNvSpPr/>
          <p:nvPr/>
        </p:nvSpPr>
        <p:spPr>
          <a:xfrm>
            <a:off x="425583" y="3949415"/>
            <a:ext cx="254933" cy="196364"/>
          </a:xfrm>
          <a:custGeom>
            <a:avLst/>
            <a:gdLst>
              <a:gd name="connsiteX0" fmla="*/ 228620 w 250586"/>
              <a:gd name="connsiteY0" fmla="*/ 0 h 176007"/>
              <a:gd name="connsiteX1" fmla="*/ 89767 w 250586"/>
              <a:gd name="connsiteY1" fmla="*/ 131260 h 176007"/>
              <a:gd name="connsiteX2" fmla="*/ 23052 w 250586"/>
              <a:gd name="connsiteY2" fmla="*/ 62918 h 176007"/>
              <a:gd name="connsiteX3" fmla="*/ 0 w 250586"/>
              <a:gd name="connsiteY3" fmla="*/ 84885 h 176007"/>
              <a:gd name="connsiteX4" fmla="*/ 88682 w 250586"/>
              <a:gd name="connsiteY4" fmla="*/ 176007 h 176007"/>
              <a:gd name="connsiteX5" fmla="*/ 112005 w 250586"/>
              <a:gd name="connsiteY5" fmla="*/ 154312 h 176007"/>
              <a:gd name="connsiteX6" fmla="*/ 250587 w 250586"/>
              <a:gd name="connsiteY6" fmla="*/ 22781 h 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0586" h="176007">
                <a:moveTo>
                  <a:pt x="228620" y="0"/>
                </a:moveTo>
                <a:lnTo>
                  <a:pt x="89767" y="131260"/>
                </a:lnTo>
                <a:lnTo>
                  <a:pt x="23052" y="62918"/>
                </a:lnTo>
                <a:lnTo>
                  <a:pt x="0" y="84885"/>
                </a:lnTo>
                <a:lnTo>
                  <a:pt x="88682" y="176007"/>
                </a:lnTo>
                <a:lnTo>
                  <a:pt x="112005" y="154312"/>
                </a:lnTo>
                <a:lnTo>
                  <a:pt x="250587" y="22781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267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03" name="Graphic 4" descr="Checkmark">
            <a:extLst>
              <a:ext uri="{FF2B5EF4-FFF2-40B4-BE49-F238E27FC236}">
                <a16:creationId xmlns:a16="http://schemas.microsoft.com/office/drawing/2014/main" id="{E4C028EE-A963-4398-81E5-E802D2DA5A35}"/>
              </a:ext>
            </a:extLst>
          </p:cNvPr>
          <p:cNvSpPr/>
          <p:nvPr/>
        </p:nvSpPr>
        <p:spPr>
          <a:xfrm>
            <a:off x="425583" y="4317592"/>
            <a:ext cx="254933" cy="196364"/>
          </a:xfrm>
          <a:custGeom>
            <a:avLst/>
            <a:gdLst>
              <a:gd name="connsiteX0" fmla="*/ 228620 w 250586"/>
              <a:gd name="connsiteY0" fmla="*/ 0 h 176007"/>
              <a:gd name="connsiteX1" fmla="*/ 89767 w 250586"/>
              <a:gd name="connsiteY1" fmla="*/ 131260 h 176007"/>
              <a:gd name="connsiteX2" fmla="*/ 23052 w 250586"/>
              <a:gd name="connsiteY2" fmla="*/ 62918 h 176007"/>
              <a:gd name="connsiteX3" fmla="*/ 0 w 250586"/>
              <a:gd name="connsiteY3" fmla="*/ 84885 h 176007"/>
              <a:gd name="connsiteX4" fmla="*/ 88682 w 250586"/>
              <a:gd name="connsiteY4" fmla="*/ 176007 h 176007"/>
              <a:gd name="connsiteX5" fmla="*/ 112005 w 250586"/>
              <a:gd name="connsiteY5" fmla="*/ 154312 h 176007"/>
              <a:gd name="connsiteX6" fmla="*/ 250587 w 250586"/>
              <a:gd name="connsiteY6" fmla="*/ 22781 h 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0586" h="176007">
                <a:moveTo>
                  <a:pt x="228620" y="0"/>
                </a:moveTo>
                <a:lnTo>
                  <a:pt x="89767" y="131260"/>
                </a:lnTo>
                <a:lnTo>
                  <a:pt x="23052" y="62918"/>
                </a:lnTo>
                <a:lnTo>
                  <a:pt x="0" y="84885"/>
                </a:lnTo>
                <a:lnTo>
                  <a:pt x="88682" y="176007"/>
                </a:lnTo>
                <a:lnTo>
                  <a:pt x="112005" y="154312"/>
                </a:lnTo>
                <a:lnTo>
                  <a:pt x="250587" y="22781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267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05" name="Graphic 6" descr="Checkmark">
            <a:extLst>
              <a:ext uri="{FF2B5EF4-FFF2-40B4-BE49-F238E27FC236}">
                <a16:creationId xmlns:a16="http://schemas.microsoft.com/office/drawing/2014/main" id="{A642DABA-EFF8-4058-996A-20E7D9C33DB1}"/>
              </a:ext>
            </a:extLst>
          </p:cNvPr>
          <p:cNvSpPr/>
          <p:nvPr/>
        </p:nvSpPr>
        <p:spPr>
          <a:xfrm>
            <a:off x="425583" y="5137071"/>
            <a:ext cx="254933" cy="196364"/>
          </a:xfrm>
          <a:custGeom>
            <a:avLst/>
            <a:gdLst>
              <a:gd name="connsiteX0" fmla="*/ 228620 w 250586"/>
              <a:gd name="connsiteY0" fmla="*/ 0 h 176007"/>
              <a:gd name="connsiteX1" fmla="*/ 89767 w 250586"/>
              <a:gd name="connsiteY1" fmla="*/ 131260 h 176007"/>
              <a:gd name="connsiteX2" fmla="*/ 23052 w 250586"/>
              <a:gd name="connsiteY2" fmla="*/ 62918 h 176007"/>
              <a:gd name="connsiteX3" fmla="*/ 0 w 250586"/>
              <a:gd name="connsiteY3" fmla="*/ 84885 h 176007"/>
              <a:gd name="connsiteX4" fmla="*/ 88682 w 250586"/>
              <a:gd name="connsiteY4" fmla="*/ 176007 h 176007"/>
              <a:gd name="connsiteX5" fmla="*/ 112005 w 250586"/>
              <a:gd name="connsiteY5" fmla="*/ 154312 h 176007"/>
              <a:gd name="connsiteX6" fmla="*/ 250587 w 250586"/>
              <a:gd name="connsiteY6" fmla="*/ 22781 h 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0586" h="176007">
                <a:moveTo>
                  <a:pt x="228620" y="0"/>
                </a:moveTo>
                <a:lnTo>
                  <a:pt x="89767" y="131260"/>
                </a:lnTo>
                <a:lnTo>
                  <a:pt x="23052" y="62918"/>
                </a:lnTo>
                <a:lnTo>
                  <a:pt x="0" y="84885"/>
                </a:lnTo>
                <a:lnTo>
                  <a:pt x="88682" y="176007"/>
                </a:lnTo>
                <a:lnTo>
                  <a:pt x="112005" y="154312"/>
                </a:lnTo>
                <a:lnTo>
                  <a:pt x="250587" y="22781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267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06" name="Graphic 7" descr="Checkmark">
            <a:extLst>
              <a:ext uri="{FF2B5EF4-FFF2-40B4-BE49-F238E27FC236}">
                <a16:creationId xmlns:a16="http://schemas.microsoft.com/office/drawing/2014/main" id="{D0FB9DBC-BC27-4AB4-8F85-F92EF099072D}"/>
              </a:ext>
            </a:extLst>
          </p:cNvPr>
          <p:cNvSpPr/>
          <p:nvPr/>
        </p:nvSpPr>
        <p:spPr>
          <a:xfrm>
            <a:off x="425583" y="5505248"/>
            <a:ext cx="254933" cy="196364"/>
          </a:xfrm>
          <a:custGeom>
            <a:avLst/>
            <a:gdLst>
              <a:gd name="connsiteX0" fmla="*/ 228620 w 250586"/>
              <a:gd name="connsiteY0" fmla="*/ 0 h 176007"/>
              <a:gd name="connsiteX1" fmla="*/ 89767 w 250586"/>
              <a:gd name="connsiteY1" fmla="*/ 131260 h 176007"/>
              <a:gd name="connsiteX2" fmla="*/ 23052 w 250586"/>
              <a:gd name="connsiteY2" fmla="*/ 62918 h 176007"/>
              <a:gd name="connsiteX3" fmla="*/ 0 w 250586"/>
              <a:gd name="connsiteY3" fmla="*/ 84885 h 176007"/>
              <a:gd name="connsiteX4" fmla="*/ 88682 w 250586"/>
              <a:gd name="connsiteY4" fmla="*/ 176007 h 176007"/>
              <a:gd name="connsiteX5" fmla="*/ 112005 w 250586"/>
              <a:gd name="connsiteY5" fmla="*/ 154312 h 176007"/>
              <a:gd name="connsiteX6" fmla="*/ 250587 w 250586"/>
              <a:gd name="connsiteY6" fmla="*/ 22781 h 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0586" h="176007">
                <a:moveTo>
                  <a:pt x="228620" y="0"/>
                </a:moveTo>
                <a:lnTo>
                  <a:pt x="89767" y="131260"/>
                </a:lnTo>
                <a:lnTo>
                  <a:pt x="23052" y="62918"/>
                </a:lnTo>
                <a:lnTo>
                  <a:pt x="0" y="84885"/>
                </a:lnTo>
                <a:lnTo>
                  <a:pt x="88682" y="176007"/>
                </a:lnTo>
                <a:lnTo>
                  <a:pt x="112005" y="154312"/>
                </a:lnTo>
                <a:lnTo>
                  <a:pt x="250587" y="22781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267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07" name="Graphic 8" descr="Checkmark">
            <a:extLst>
              <a:ext uri="{FF2B5EF4-FFF2-40B4-BE49-F238E27FC236}">
                <a16:creationId xmlns:a16="http://schemas.microsoft.com/office/drawing/2014/main" id="{9441916A-F2E6-4E26-9340-83E49F1C76FD}"/>
              </a:ext>
            </a:extLst>
          </p:cNvPr>
          <p:cNvSpPr/>
          <p:nvPr/>
        </p:nvSpPr>
        <p:spPr>
          <a:xfrm>
            <a:off x="425583" y="5873423"/>
            <a:ext cx="254933" cy="196364"/>
          </a:xfrm>
          <a:custGeom>
            <a:avLst/>
            <a:gdLst>
              <a:gd name="connsiteX0" fmla="*/ 228620 w 250586"/>
              <a:gd name="connsiteY0" fmla="*/ 0 h 176007"/>
              <a:gd name="connsiteX1" fmla="*/ 89767 w 250586"/>
              <a:gd name="connsiteY1" fmla="*/ 131260 h 176007"/>
              <a:gd name="connsiteX2" fmla="*/ 23052 w 250586"/>
              <a:gd name="connsiteY2" fmla="*/ 62918 h 176007"/>
              <a:gd name="connsiteX3" fmla="*/ 0 w 250586"/>
              <a:gd name="connsiteY3" fmla="*/ 84885 h 176007"/>
              <a:gd name="connsiteX4" fmla="*/ 88682 w 250586"/>
              <a:gd name="connsiteY4" fmla="*/ 176007 h 176007"/>
              <a:gd name="connsiteX5" fmla="*/ 112005 w 250586"/>
              <a:gd name="connsiteY5" fmla="*/ 154312 h 176007"/>
              <a:gd name="connsiteX6" fmla="*/ 250587 w 250586"/>
              <a:gd name="connsiteY6" fmla="*/ 22781 h 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0586" h="176007">
                <a:moveTo>
                  <a:pt x="228620" y="0"/>
                </a:moveTo>
                <a:lnTo>
                  <a:pt x="89767" y="131260"/>
                </a:lnTo>
                <a:lnTo>
                  <a:pt x="23052" y="62918"/>
                </a:lnTo>
                <a:lnTo>
                  <a:pt x="0" y="84885"/>
                </a:lnTo>
                <a:lnTo>
                  <a:pt x="88682" y="176007"/>
                </a:lnTo>
                <a:lnTo>
                  <a:pt x="112005" y="154312"/>
                </a:lnTo>
                <a:lnTo>
                  <a:pt x="250587" y="22781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267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371661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23B3D9-5974-6DF1-41E8-FE8BB3E28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167678"/>
            <a:ext cx="11204448" cy="463610"/>
          </a:xfrm>
        </p:spPr>
        <p:txBody>
          <a:bodyPr/>
          <a:lstStyle/>
          <a:p>
            <a:r>
              <a:rPr lang="en-US"/>
              <a:t>Project Status &amp; Milestones – BI &amp; Reporting Track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CF66A7C-FACA-CDF4-CE52-E253CDBB61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828501-58BA-692E-22E4-583AADE806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46" name="Table 4">
            <a:extLst>
              <a:ext uri="{FF2B5EF4-FFF2-40B4-BE49-F238E27FC236}">
                <a16:creationId xmlns:a16="http://schemas.microsoft.com/office/drawing/2014/main" id="{53EA420E-C862-42CC-AD0A-0CD5E908B4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1859622"/>
              </p:ext>
            </p:extLst>
          </p:nvPr>
        </p:nvGraphicFramePr>
        <p:xfrm>
          <a:off x="746988" y="886693"/>
          <a:ext cx="10951236" cy="5250057"/>
        </p:xfrm>
        <a:graphic>
          <a:graphicData uri="http://schemas.openxmlformats.org/drawingml/2006/table">
            <a:tbl>
              <a:tblPr firstRow="1" bandRow="1"/>
              <a:tblGrid>
                <a:gridCol w="330653">
                  <a:extLst>
                    <a:ext uri="{9D8B030D-6E8A-4147-A177-3AD203B41FA5}">
                      <a16:colId xmlns:a16="http://schemas.microsoft.com/office/drawing/2014/main" val="591996495"/>
                    </a:ext>
                  </a:extLst>
                </a:gridCol>
                <a:gridCol w="4353341">
                  <a:extLst>
                    <a:ext uri="{9D8B030D-6E8A-4147-A177-3AD203B41FA5}">
                      <a16:colId xmlns:a16="http://schemas.microsoft.com/office/drawing/2014/main" val="1871347559"/>
                    </a:ext>
                  </a:extLst>
                </a:gridCol>
                <a:gridCol w="1274618">
                  <a:extLst>
                    <a:ext uri="{9D8B030D-6E8A-4147-A177-3AD203B41FA5}">
                      <a16:colId xmlns:a16="http://schemas.microsoft.com/office/drawing/2014/main" val="1440275523"/>
                    </a:ext>
                  </a:extLst>
                </a:gridCol>
                <a:gridCol w="1265382">
                  <a:extLst>
                    <a:ext uri="{9D8B030D-6E8A-4147-A177-3AD203B41FA5}">
                      <a16:colId xmlns:a16="http://schemas.microsoft.com/office/drawing/2014/main" val="643326090"/>
                    </a:ext>
                  </a:extLst>
                </a:gridCol>
                <a:gridCol w="1394691">
                  <a:extLst>
                    <a:ext uri="{9D8B030D-6E8A-4147-A177-3AD203B41FA5}">
                      <a16:colId xmlns:a16="http://schemas.microsoft.com/office/drawing/2014/main" val="927228342"/>
                    </a:ext>
                  </a:extLst>
                </a:gridCol>
                <a:gridCol w="2332551">
                  <a:extLst>
                    <a:ext uri="{9D8B030D-6E8A-4147-A177-3AD203B41FA5}">
                      <a16:colId xmlns:a16="http://schemas.microsoft.com/office/drawing/2014/main" val="4023779838"/>
                    </a:ext>
                  </a:extLst>
                </a:gridCol>
              </a:tblGrid>
              <a:tr h="403124">
                <a:tc gridSpan="2">
                  <a:txBody>
                    <a:bodyPr/>
                    <a:lstStyle>
                      <a:lvl1pPr marL="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457189" rtl="0" eaLnBrk="1" latinLnBrk="0" hangingPunct="1">
                        <a:lnSpc>
                          <a:spcPct val="150000"/>
                        </a:lnSpc>
                      </a:pPr>
                      <a:r>
                        <a:rPr lang="en-US" sz="14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BI &amp; Reporting Track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457189" rtl="0" eaLnBrk="1" latinLnBrk="0" hangingPunct="1"/>
                      <a:r>
                        <a:rPr lang="en-US" sz="1400" b="1" kern="120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Progress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457189" rtl="0" eaLnBrk="1" latinLnBrk="0" hangingPunct="1"/>
                      <a:r>
                        <a:rPr lang="en-US" sz="1400" b="1" kern="120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Risk Level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457189" rtl="0" eaLnBrk="1" latinLnBrk="0" hangingPunct="1"/>
                      <a:r>
                        <a:rPr lang="en-US" sz="1400" b="1" kern="120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Complete Week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457189" rtl="0" eaLnBrk="1" latinLnBrk="0" hangingPunct="1"/>
                      <a:r>
                        <a:rPr lang="en-US" sz="1400" b="1" kern="120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Dependencies &amp; Challenges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054875"/>
                  </a:ext>
                </a:extLst>
              </a:tr>
              <a:tr h="372841">
                <a:tc gridSpan="2"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200" b="1" noProof="1">
                          <a:solidFill>
                            <a:schemeClr val="tx1"/>
                          </a:solidFill>
                        </a:rPr>
                        <a:t>Activity 1 –Wire Frame/Mock up Design for the Problem Statement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noProof="1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1926703"/>
                  </a:ext>
                </a:extLst>
              </a:tr>
              <a:tr h="372841"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bg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Design Mock up Wireframe for Business Agreement</a:t>
                      </a:r>
                      <a:endParaRPr kumimoji="0" lang="en-US" sz="12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200" baseline="0" noProof="1">
                          <a:solidFill>
                            <a:schemeClr val="tx1"/>
                          </a:solidFill>
                        </a:rPr>
                        <a:t>WE 16</a:t>
                      </a:r>
                      <a:r>
                        <a:rPr lang="en-US" sz="1200" baseline="30000" noProof="1">
                          <a:solidFill>
                            <a:schemeClr val="tx1"/>
                          </a:solidFill>
                        </a:rPr>
                        <a:t>th</a:t>
                      </a:r>
                      <a:r>
                        <a:rPr lang="en-US" sz="1200" baseline="0" noProof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200" noProof="1">
                          <a:solidFill>
                            <a:schemeClr val="tx1"/>
                          </a:solidFill>
                        </a:rPr>
                        <a:t>September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200" noProof="1">
                          <a:solidFill>
                            <a:schemeClr val="tx1"/>
                          </a:solidFill>
                        </a:rPr>
                        <a:t>Design Validation &amp; Agreement on the Final Wirefra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606401"/>
                  </a:ext>
                </a:extLst>
              </a:tr>
              <a:tr h="372841"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bg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Iterative on the Agreed Design and Functionality</a:t>
                      </a:r>
                      <a:endParaRPr kumimoji="0" lang="en-US" sz="12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200" baseline="0" noProof="1">
                          <a:solidFill>
                            <a:schemeClr val="tx1"/>
                          </a:solidFill>
                        </a:rPr>
                        <a:t>WE 23</a:t>
                      </a:r>
                      <a:r>
                        <a:rPr lang="en-US" sz="1200" baseline="30000" noProof="1">
                          <a:solidFill>
                            <a:schemeClr val="tx1"/>
                          </a:solidFill>
                        </a:rPr>
                        <a:t>rd</a:t>
                      </a:r>
                      <a:r>
                        <a:rPr lang="en-US" sz="1200" baseline="0" noProof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200" noProof="1">
                          <a:solidFill>
                            <a:schemeClr val="tx1"/>
                          </a:solidFill>
                        </a:rPr>
                        <a:t>September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2082998"/>
                  </a:ext>
                </a:extLst>
              </a:tr>
              <a:tr h="372841">
                <a:tc gridSpan="2"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noProof="1">
                          <a:solidFill>
                            <a:schemeClr val="tx1"/>
                          </a:solidFill>
                        </a:rPr>
                        <a:t>Activity 2 – </a:t>
                      </a:r>
                      <a:r>
                        <a:rPr lang="en-US" sz="1200" b="1" kern="1200" noProof="1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Map/validate Columns to the Data Model (Fact Tables)</a:t>
                      </a:r>
                      <a:endParaRPr lang="da-DK" sz="1200" b="1" kern="1200" noProof="1">
                        <a:solidFill>
                          <a:schemeClr val="tx1"/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4485023"/>
                  </a:ext>
                </a:extLst>
              </a:tr>
              <a:tr h="372841"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Upload Account Fact Table &amp; Profile Fact Table</a:t>
                      </a:r>
                      <a:endParaRPr kumimoji="0" lang="en-US" sz="12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200" baseline="0" noProof="1">
                          <a:solidFill>
                            <a:schemeClr val="tx1"/>
                          </a:solidFill>
                        </a:rPr>
                        <a:t>WE 18</a:t>
                      </a:r>
                      <a:r>
                        <a:rPr lang="en-US" sz="1200" baseline="30000" noProof="1">
                          <a:solidFill>
                            <a:schemeClr val="tx1"/>
                          </a:solidFill>
                        </a:rPr>
                        <a:t>th</a:t>
                      </a:r>
                      <a:r>
                        <a:rPr lang="en-US" sz="1200" baseline="0" noProof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200" noProof="1">
                          <a:solidFill>
                            <a:schemeClr val="tx1"/>
                          </a:solidFill>
                        </a:rPr>
                        <a:t>October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200" noProof="1">
                          <a:solidFill>
                            <a:schemeClr val="tx1"/>
                          </a:solidFill>
                        </a:rPr>
                        <a:t>Data Mapping/Validation to Design Wireframe &amp; Transformation</a:t>
                      </a:r>
                      <a:r>
                        <a:rPr lang="en-US" sz="1200" baseline="0" noProof="1">
                          <a:solidFill>
                            <a:schemeClr val="tx1"/>
                          </a:solidFill>
                        </a:rPr>
                        <a:t> Assess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3436198"/>
                  </a:ext>
                </a:extLst>
              </a:tr>
              <a:tr h="372841"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1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Transaction Fact Octa Table &amp; Transaction Fact Adobe Table</a:t>
                      </a:r>
                      <a:endParaRPr kumimoji="0" lang="en-US" sz="12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aseline="0" noProof="1">
                          <a:solidFill>
                            <a:schemeClr val="tx1"/>
                          </a:solidFill>
                        </a:rPr>
                        <a:t>WE 18</a:t>
                      </a:r>
                      <a:r>
                        <a:rPr lang="en-US" sz="1200" baseline="30000" noProof="1">
                          <a:solidFill>
                            <a:schemeClr val="tx1"/>
                          </a:solidFill>
                        </a:rPr>
                        <a:t>th</a:t>
                      </a:r>
                      <a:r>
                        <a:rPr lang="en-US" sz="1200" baseline="0" noProof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200" noProof="1">
                          <a:solidFill>
                            <a:schemeClr val="tx1"/>
                          </a:solidFill>
                        </a:rPr>
                        <a:t>October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algn="ctr" defTabSz="457189" rtl="0" eaLnBrk="1" latinLnBrk="0" hangingPunct="1"/>
                      <a:endParaRPr lang="en-US" sz="1200" kern="1200" noProof="1">
                        <a:solidFill>
                          <a:schemeClr val="tx1"/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4437463"/>
                  </a:ext>
                </a:extLst>
              </a:tr>
              <a:tr h="372841">
                <a:tc gridSpan="2"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noProof="1">
                          <a:solidFill>
                            <a:schemeClr val="tx1"/>
                          </a:solidFill>
                        </a:rPr>
                        <a:t>Demo &amp; Iterate on the Agreed Design with Actual Data on Tableau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noProof="1"/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1103034"/>
                  </a:ext>
                </a:extLst>
              </a:tr>
              <a:tr h="372841"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Integrate with Data Ingestion through ETL Pieplines</a:t>
                      </a:r>
                      <a:endParaRPr kumimoji="0" lang="en-US" sz="12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aseline="0" noProof="1">
                          <a:solidFill>
                            <a:schemeClr val="tx1"/>
                          </a:solidFill>
                        </a:rPr>
                        <a:t>WE 15</a:t>
                      </a:r>
                      <a:r>
                        <a:rPr lang="en-US" sz="1200" baseline="30000" noProof="1">
                          <a:solidFill>
                            <a:schemeClr val="tx1"/>
                          </a:solidFill>
                        </a:rPr>
                        <a:t>st</a:t>
                      </a:r>
                      <a:r>
                        <a:rPr lang="en-US" sz="1200" baseline="0" noProof="1">
                          <a:solidFill>
                            <a:schemeClr val="tx1"/>
                          </a:solidFill>
                        </a:rPr>
                        <a:t> November</a:t>
                      </a:r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457189" rtl="0" eaLnBrk="1" latinLnBrk="0" hangingPunct="1"/>
                      <a:r>
                        <a:rPr lang="en-US" sz="1200" kern="1200" noProof="1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Tableau</a:t>
                      </a:r>
                      <a:r>
                        <a:rPr lang="en-US" sz="1200" kern="1200" baseline="0" noProof="1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 &amp; </a:t>
                      </a:r>
                      <a:r>
                        <a:rPr lang="en-US" sz="1200" kern="1200" noProof="1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ETL</a:t>
                      </a:r>
                      <a:r>
                        <a:rPr lang="en-US" sz="1200" kern="1200" baseline="0" noProof="1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 Implementation &amp; Completion by the Data Team</a:t>
                      </a:r>
                      <a:endParaRPr lang="en-US" sz="1200" kern="1200" noProof="1">
                        <a:solidFill>
                          <a:schemeClr val="tx1"/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8339243"/>
                  </a:ext>
                </a:extLst>
              </a:tr>
              <a:tr h="3728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22859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457189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685783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914377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142971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1371566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1600160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1828754" algn="l" defTabSz="457189" rtl="0" eaLnBrk="1" latinLnBrk="0" hangingPunct="1">
                        <a:defRPr sz="9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Data Tarnsformation &amp; Design/Report Validation</a:t>
                      </a:r>
                      <a:endParaRPr kumimoji="0" lang="en-US" sz="12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aseline="0" noProof="1">
                          <a:solidFill>
                            <a:schemeClr val="tx1"/>
                          </a:solidFill>
                        </a:rPr>
                        <a:t>WE 15</a:t>
                      </a:r>
                      <a:r>
                        <a:rPr lang="en-US" sz="1200" baseline="30000" noProof="1">
                          <a:solidFill>
                            <a:schemeClr val="tx1"/>
                          </a:solidFill>
                        </a:rPr>
                        <a:t>st</a:t>
                      </a:r>
                      <a:r>
                        <a:rPr lang="en-US" sz="1200" baseline="0" noProof="1">
                          <a:solidFill>
                            <a:schemeClr val="tx1"/>
                          </a:solidFill>
                        </a:rPr>
                        <a:t> November</a:t>
                      </a:r>
                      <a:endParaRPr lang="en-US" sz="1200" noProof="1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7396125"/>
                  </a:ext>
                </a:extLst>
              </a:tr>
              <a:tr h="372841">
                <a:tc gridSpan="2"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noProof="1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Dashboards Development &amp;</a:t>
                      </a:r>
                      <a:r>
                        <a:rPr lang="en-US" sz="1200" b="1" kern="1200" baseline="0" noProof="1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 Getting Ready for Production</a:t>
                      </a:r>
                      <a:endParaRPr lang="en-US" sz="1200" b="1" kern="1200" noProof="1">
                        <a:solidFill>
                          <a:schemeClr val="tx1"/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a-DK" sz="1800" b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uLnTx/>
                        <a:uFillTx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noProof="1"/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3575882"/>
                  </a:ext>
                </a:extLst>
              </a:tr>
              <a:tr h="3728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reation of Profile &amp; Activity Dashboards</a:t>
                      </a:r>
                      <a:endParaRPr kumimoji="0" lang="da-DK" sz="1200" b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aseline="0" noProof="1">
                          <a:solidFill>
                            <a:schemeClr val="tx1"/>
                          </a:solidFill>
                        </a:rPr>
                        <a:t>WE 29</a:t>
                      </a:r>
                      <a:r>
                        <a:rPr lang="en-US" sz="1200" baseline="30000" noProof="1">
                          <a:solidFill>
                            <a:schemeClr val="tx1"/>
                          </a:solidFill>
                        </a:rPr>
                        <a:t>th</a:t>
                      </a:r>
                      <a:r>
                        <a:rPr lang="en-US" sz="1200" baseline="0" noProof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200" noProof="1">
                          <a:solidFill>
                            <a:schemeClr val="tx1"/>
                          </a:solidFill>
                        </a:rPr>
                        <a:t>November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457189" rtl="0" eaLnBrk="1" latinLnBrk="0" hangingPunct="1"/>
                      <a:r>
                        <a:rPr lang="en-US" sz="1200" kern="1200" noProof="1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Previous</a:t>
                      </a:r>
                      <a:r>
                        <a:rPr lang="en-US" sz="1200" kern="1200" baseline="0" noProof="1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 Tasks and </a:t>
                      </a:r>
                      <a:r>
                        <a:rPr lang="en-US" sz="1200" kern="1200" noProof="1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Validation</a:t>
                      </a:r>
                      <a:r>
                        <a:rPr lang="en-US" sz="1200" kern="1200" baseline="0" noProof="1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 &amp; Sign off by the Business Teams</a:t>
                      </a:r>
                      <a:endParaRPr lang="en-US" sz="1200" kern="1200" noProof="1">
                        <a:solidFill>
                          <a:schemeClr val="tx1"/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8521403"/>
                  </a:ext>
                </a:extLst>
              </a:tr>
              <a:tr h="3728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Testing of the Dashboards by Dev Team &amp; Production SM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aseline="0" noProof="1">
                          <a:solidFill>
                            <a:schemeClr val="tx1"/>
                          </a:solidFill>
                        </a:rPr>
                        <a:t>WE 29</a:t>
                      </a:r>
                      <a:r>
                        <a:rPr lang="en-US" sz="1200" baseline="30000" noProof="1">
                          <a:solidFill>
                            <a:schemeClr val="tx1"/>
                          </a:solidFill>
                        </a:rPr>
                        <a:t>th</a:t>
                      </a:r>
                      <a:r>
                        <a:rPr lang="en-US" sz="1200" baseline="0" noProof="1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200" noProof="1">
                          <a:solidFill>
                            <a:schemeClr val="tx1"/>
                          </a:solidFill>
                        </a:rPr>
                        <a:t>November</a:t>
                      </a:r>
                      <a:endParaRPr lang="en-US" sz="1200" noProof="1"/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6149753"/>
                  </a:ext>
                </a:extLst>
              </a:tr>
              <a:tr h="372841">
                <a:tc gridSpan="2"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noProof="1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Dashboards </a:t>
                      </a:r>
                      <a:r>
                        <a:rPr lang="en-US" sz="1200" b="1" kern="1200" baseline="0" noProof="1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Production Deployment &amp; Training</a:t>
                      </a:r>
                      <a:endParaRPr lang="en-US" sz="1200" b="1" kern="1200" noProof="1">
                        <a:solidFill>
                          <a:schemeClr val="tx1"/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a-DK" sz="1800" b="0" u="none" strike="noStrike" kern="1200" cap="none" spc="0" normalizeH="0" baseline="0" noProof="1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uLnTx/>
                        <a:uFillTx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1"/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E 6</a:t>
                      </a:r>
                      <a:r>
                        <a:rPr kumimoji="0" lang="en-US" sz="1200" b="0" i="0" u="none" strike="noStrike" kern="1200" cap="none" spc="0" normalizeH="0" baseline="3000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</a:t>
                      </a:r>
                      <a:r>
                        <a:rPr kumimoji="0" lang="en-US" sz="12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ecember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noProof="1">
                          <a:solidFill>
                            <a:schemeClr val="tx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TB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9402842"/>
                  </a:ext>
                </a:extLst>
              </a:tr>
            </a:tbl>
          </a:graphicData>
        </a:graphic>
      </p:graphicFrame>
      <p:sp>
        <p:nvSpPr>
          <p:cNvPr id="51" name="Rectangle: Rounded Corners 13">
            <a:extLst>
              <a:ext uri="{FF2B5EF4-FFF2-40B4-BE49-F238E27FC236}">
                <a16:creationId xmlns:a16="http://schemas.microsoft.com/office/drawing/2014/main" id="{E415017B-CFE6-4C23-8D29-5128C86E4DB7}"/>
              </a:ext>
            </a:extLst>
          </p:cNvPr>
          <p:cNvSpPr/>
          <p:nvPr/>
        </p:nvSpPr>
        <p:spPr>
          <a:xfrm>
            <a:off x="5461131" y="1715346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A2B96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>
                <a:solidFill>
                  <a:prstClr val="black">
                    <a:lumMod val="85000"/>
                    <a:lumOff val="15000"/>
                  </a:prstClr>
                </a:solidFill>
              </a:rPr>
              <a:t>Complete</a:t>
            </a:r>
          </a:p>
        </p:txBody>
      </p:sp>
      <p:sp>
        <p:nvSpPr>
          <p:cNvPr id="52" name="Rectangle: Rounded Corners 14">
            <a:extLst>
              <a:ext uri="{FF2B5EF4-FFF2-40B4-BE49-F238E27FC236}">
                <a16:creationId xmlns:a16="http://schemas.microsoft.com/office/drawing/2014/main" id="{C9A2C356-86EB-4E0D-AC31-2CF89823DAD6}"/>
              </a:ext>
            </a:extLst>
          </p:cNvPr>
          <p:cNvSpPr/>
          <p:nvPr/>
        </p:nvSpPr>
        <p:spPr>
          <a:xfrm>
            <a:off x="6729192" y="1715346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A2B96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0">
                <a:solidFill>
                  <a:prstClr val="black">
                    <a:lumMod val="85000"/>
                    <a:lumOff val="15000"/>
                  </a:prstClr>
                </a:solidFill>
              </a:rPr>
              <a:t>Low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</a:endParaRPr>
          </a:p>
        </p:txBody>
      </p:sp>
      <p:sp>
        <p:nvSpPr>
          <p:cNvPr id="54" name="Rectangle: Rounded Corners 16">
            <a:extLst>
              <a:ext uri="{FF2B5EF4-FFF2-40B4-BE49-F238E27FC236}">
                <a16:creationId xmlns:a16="http://schemas.microsoft.com/office/drawing/2014/main" id="{12E7BE95-014E-4823-A0B4-D90A77AC48FF}"/>
              </a:ext>
            </a:extLst>
          </p:cNvPr>
          <p:cNvSpPr/>
          <p:nvPr/>
        </p:nvSpPr>
        <p:spPr>
          <a:xfrm>
            <a:off x="5461131" y="2094390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A2B96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 dirty="0">
                <a:solidFill>
                  <a:prstClr val="black">
                    <a:lumMod val="85000"/>
                    <a:lumOff val="15000"/>
                  </a:prstClr>
                </a:solidFill>
              </a:rPr>
              <a:t>Complete</a:t>
            </a:r>
          </a:p>
        </p:txBody>
      </p:sp>
      <p:sp>
        <p:nvSpPr>
          <p:cNvPr id="55" name="Rectangle: Rounded Corners 17">
            <a:extLst>
              <a:ext uri="{FF2B5EF4-FFF2-40B4-BE49-F238E27FC236}">
                <a16:creationId xmlns:a16="http://schemas.microsoft.com/office/drawing/2014/main" id="{608725C6-779D-4773-9EF4-9F76B0CD497E}"/>
              </a:ext>
            </a:extLst>
          </p:cNvPr>
          <p:cNvSpPr/>
          <p:nvPr/>
        </p:nvSpPr>
        <p:spPr>
          <a:xfrm>
            <a:off x="6729192" y="2094390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A2B96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0">
                <a:solidFill>
                  <a:prstClr val="black">
                    <a:lumMod val="85000"/>
                    <a:lumOff val="15000"/>
                  </a:prstClr>
                </a:solidFill>
              </a:rPr>
              <a:t>Low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</a:endParaRPr>
          </a:p>
        </p:txBody>
      </p:sp>
      <p:sp>
        <p:nvSpPr>
          <p:cNvPr id="61" name="Rectangle: Rounded Corners 23">
            <a:extLst>
              <a:ext uri="{FF2B5EF4-FFF2-40B4-BE49-F238E27FC236}">
                <a16:creationId xmlns:a16="http://schemas.microsoft.com/office/drawing/2014/main" id="{497144BE-473B-4BEB-A7D8-4E3C55F21E44}"/>
              </a:ext>
            </a:extLst>
          </p:cNvPr>
          <p:cNvSpPr/>
          <p:nvPr/>
        </p:nvSpPr>
        <p:spPr>
          <a:xfrm>
            <a:off x="6729192" y="2833990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A2B96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>
                <a:solidFill>
                  <a:prstClr val="black">
                    <a:lumMod val="85000"/>
                    <a:lumOff val="15000"/>
                  </a:prstClr>
                </a:solidFill>
              </a:rPr>
              <a:t>Low</a:t>
            </a:r>
          </a:p>
        </p:txBody>
      </p:sp>
      <p:sp>
        <p:nvSpPr>
          <p:cNvPr id="63" name="Rectangle: Rounded Corners 25">
            <a:extLst>
              <a:ext uri="{FF2B5EF4-FFF2-40B4-BE49-F238E27FC236}">
                <a16:creationId xmlns:a16="http://schemas.microsoft.com/office/drawing/2014/main" id="{F28709C4-A97F-4361-AB00-061E6CDF0F22}"/>
              </a:ext>
            </a:extLst>
          </p:cNvPr>
          <p:cNvSpPr/>
          <p:nvPr/>
        </p:nvSpPr>
        <p:spPr>
          <a:xfrm>
            <a:off x="5461131" y="3203796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F7931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>
                <a:solidFill>
                  <a:prstClr val="black">
                    <a:lumMod val="85000"/>
                    <a:lumOff val="15000"/>
                  </a:prstClr>
                </a:solidFill>
              </a:rPr>
              <a:t>WIP</a:t>
            </a:r>
          </a:p>
        </p:txBody>
      </p:sp>
      <p:sp>
        <p:nvSpPr>
          <p:cNvPr id="64" name="Rectangle: Rounded Corners 26">
            <a:extLst>
              <a:ext uri="{FF2B5EF4-FFF2-40B4-BE49-F238E27FC236}">
                <a16:creationId xmlns:a16="http://schemas.microsoft.com/office/drawing/2014/main" id="{E413E375-01D2-421D-A856-FF87114076FA}"/>
              </a:ext>
            </a:extLst>
          </p:cNvPr>
          <p:cNvSpPr/>
          <p:nvPr/>
        </p:nvSpPr>
        <p:spPr>
          <a:xfrm>
            <a:off x="6729192" y="3203796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A2B96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>
                <a:solidFill>
                  <a:prstClr val="black">
                    <a:lumMod val="85000"/>
                    <a:lumOff val="15000"/>
                  </a:prstClr>
                </a:solidFill>
              </a:rPr>
              <a:t>Low</a:t>
            </a:r>
          </a:p>
        </p:txBody>
      </p:sp>
      <p:sp>
        <p:nvSpPr>
          <p:cNvPr id="75" name="Graphic 3" descr="Checkmark">
            <a:extLst>
              <a:ext uri="{FF2B5EF4-FFF2-40B4-BE49-F238E27FC236}">
                <a16:creationId xmlns:a16="http://schemas.microsoft.com/office/drawing/2014/main" id="{D63D3523-A25B-4BE7-8B9A-5A45C7D5D402}"/>
              </a:ext>
            </a:extLst>
          </p:cNvPr>
          <p:cNvSpPr/>
          <p:nvPr/>
        </p:nvSpPr>
        <p:spPr>
          <a:xfrm>
            <a:off x="425583" y="1744790"/>
            <a:ext cx="254933" cy="196364"/>
          </a:xfrm>
          <a:custGeom>
            <a:avLst/>
            <a:gdLst>
              <a:gd name="connsiteX0" fmla="*/ 228620 w 250586"/>
              <a:gd name="connsiteY0" fmla="*/ 0 h 176007"/>
              <a:gd name="connsiteX1" fmla="*/ 89767 w 250586"/>
              <a:gd name="connsiteY1" fmla="*/ 131260 h 176007"/>
              <a:gd name="connsiteX2" fmla="*/ 23052 w 250586"/>
              <a:gd name="connsiteY2" fmla="*/ 62918 h 176007"/>
              <a:gd name="connsiteX3" fmla="*/ 0 w 250586"/>
              <a:gd name="connsiteY3" fmla="*/ 84885 h 176007"/>
              <a:gd name="connsiteX4" fmla="*/ 88682 w 250586"/>
              <a:gd name="connsiteY4" fmla="*/ 176007 h 176007"/>
              <a:gd name="connsiteX5" fmla="*/ 112005 w 250586"/>
              <a:gd name="connsiteY5" fmla="*/ 154312 h 176007"/>
              <a:gd name="connsiteX6" fmla="*/ 250587 w 250586"/>
              <a:gd name="connsiteY6" fmla="*/ 22781 h 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0586" h="176007">
                <a:moveTo>
                  <a:pt x="228620" y="0"/>
                </a:moveTo>
                <a:lnTo>
                  <a:pt x="89767" y="131260"/>
                </a:lnTo>
                <a:lnTo>
                  <a:pt x="23052" y="62918"/>
                </a:lnTo>
                <a:lnTo>
                  <a:pt x="0" y="84885"/>
                </a:lnTo>
                <a:lnTo>
                  <a:pt x="88682" y="176007"/>
                </a:lnTo>
                <a:lnTo>
                  <a:pt x="112005" y="154312"/>
                </a:lnTo>
                <a:lnTo>
                  <a:pt x="250587" y="22781"/>
                </a:lnTo>
                <a:close/>
              </a:path>
            </a:pathLst>
          </a:custGeom>
          <a:solidFill>
            <a:schemeClr val="accent3"/>
          </a:solidFill>
          <a:ln w="267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6" name="Graphic 4" descr="Checkmark">
            <a:extLst>
              <a:ext uri="{FF2B5EF4-FFF2-40B4-BE49-F238E27FC236}">
                <a16:creationId xmlns:a16="http://schemas.microsoft.com/office/drawing/2014/main" id="{E4C028EE-A963-4398-81E5-E802D2DA5A35}"/>
              </a:ext>
            </a:extLst>
          </p:cNvPr>
          <p:cNvSpPr/>
          <p:nvPr/>
        </p:nvSpPr>
        <p:spPr>
          <a:xfrm>
            <a:off x="425583" y="2112967"/>
            <a:ext cx="254933" cy="196364"/>
          </a:xfrm>
          <a:custGeom>
            <a:avLst/>
            <a:gdLst>
              <a:gd name="connsiteX0" fmla="*/ 228620 w 250586"/>
              <a:gd name="connsiteY0" fmla="*/ 0 h 176007"/>
              <a:gd name="connsiteX1" fmla="*/ 89767 w 250586"/>
              <a:gd name="connsiteY1" fmla="*/ 131260 h 176007"/>
              <a:gd name="connsiteX2" fmla="*/ 23052 w 250586"/>
              <a:gd name="connsiteY2" fmla="*/ 62918 h 176007"/>
              <a:gd name="connsiteX3" fmla="*/ 0 w 250586"/>
              <a:gd name="connsiteY3" fmla="*/ 84885 h 176007"/>
              <a:gd name="connsiteX4" fmla="*/ 88682 w 250586"/>
              <a:gd name="connsiteY4" fmla="*/ 176007 h 176007"/>
              <a:gd name="connsiteX5" fmla="*/ 112005 w 250586"/>
              <a:gd name="connsiteY5" fmla="*/ 154312 h 176007"/>
              <a:gd name="connsiteX6" fmla="*/ 250587 w 250586"/>
              <a:gd name="connsiteY6" fmla="*/ 22781 h 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0586" h="176007">
                <a:moveTo>
                  <a:pt x="228620" y="0"/>
                </a:moveTo>
                <a:lnTo>
                  <a:pt x="89767" y="131260"/>
                </a:lnTo>
                <a:lnTo>
                  <a:pt x="23052" y="62918"/>
                </a:lnTo>
                <a:lnTo>
                  <a:pt x="0" y="84885"/>
                </a:lnTo>
                <a:lnTo>
                  <a:pt x="88682" y="176007"/>
                </a:lnTo>
                <a:lnTo>
                  <a:pt x="112005" y="154312"/>
                </a:lnTo>
                <a:lnTo>
                  <a:pt x="250587" y="22781"/>
                </a:lnTo>
                <a:close/>
              </a:path>
            </a:pathLst>
          </a:custGeom>
          <a:solidFill>
            <a:schemeClr val="accent3"/>
          </a:solidFill>
          <a:ln w="267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7" name="Graphic 5" descr="Checkmark">
            <a:extLst>
              <a:ext uri="{FF2B5EF4-FFF2-40B4-BE49-F238E27FC236}">
                <a16:creationId xmlns:a16="http://schemas.microsoft.com/office/drawing/2014/main" id="{74CEBFA9-E10A-4A01-BC2D-62A7E277129D}"/>
              </a:ext>
            </a:extLst>
          </p:cNvPr>
          <p:cNvSpPr/>
          <p:nvPr/>
        </p:nvSpPr>
        <p:spPr>
          <a:xfrm>
            <a:off x="425583" y="2896776"/>
            <a:ext cx="254933" cy="196364"/>
          </a:xfrm>
          <a:custGeom>
            <a:avLst/>
            <a:gdLst>
              <a:gd name="connsiteX0" fmla="*/ 228620 w 250586"/>
              <a:gd name="connsiteY0" fmla="*/ 0 h 176007"/>
              <a:gd name="connsiteX1" fmla="*/ 89767 w 250586"/>
              <a:gd name="connsiteY1" fmla="*/ 131260 h 176007"/>
              <a:gd name="connsiteX2" fmla="*/ 23052 w 250586"/>
              <a:gd name="connsiteY2" fmla="*/ 62918 h 176007"/>
              <a:gd name="connsiteX3" fmla="*/ 0 w 250586"/>
              <a:gd name="connsiteY3" fmla="*/ 84885 h 176007"/>
              <a:gd name="connsiteX4" fmla="*/ 88682 w 250586"/>
              <a:gd name="connsiteY4" fmla="*/ 176007 h 176007"/>
              <a:gd name="connsiteX5" fmla="*/ 112005 w 250586"/>
              <a:gd name="connsiteY5" fmla="*/ 154312 h 176007"/>
              <a:gd name="connsiteX6" fmla="*/ 250587 w 250586"/>
              <a:gd name="connsiteY6" fmla="*/ 22781 h 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0586" h="176007">
                <a:moveTo>
                  <a:pt x="228620" y="0"/>
                </a:moveTo>
                <a:lnTo>
                  <a:pt x="89767" y="131260"/>
                </a:lnTo>
                <a:lnTo>
                  <a:pt x="23052" y="62918"/>
                </a:lnTo>
                <a:lnTo>
                  <a:pt x="0" y="84885"/>
                </a:lnTo>
                <a:lnTo>
                  <a:pt x="88682" y="176007"/>
                </a:lnTo>
                <a:lnTo>
                  <a:pt x="112005" y="154312"/>
                </a:lnTo>
                <a:lnTo>
                  <a:pt x="250587" y="22781"/>
                </a:lnTo>
                <a:close/>
              </a:path>
            </a:pathLst>
          </a:custGeom>
          <a:solidFill>
            <a:schemeClr val="accent3"/>
          </a:solidFill>
          <a:ln w="267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8" name="Graphic 6" descr="Checkmark">
            <a:extLst>
              <a:ext uri="{FF2B5EF4-FFF2-40B4-BE49-F238E27FC236}">
                <a16:creationId xmlns:a16="http://schemas.microsoft.com/office/drawing/2014/main" id="{A642DABA-EFF8-4058-996A-20E7D9C33DB1}"/>
              </a:ext>
            </a:extLst>
          </p:cNvPr>
          <p:cNvSpPr/>
          <p:nvPr/>
        </p:nvSpPr>
        <p:spPr>
          <a:xfrm>
            <a:off x="425583" y="3264953"/>
            <a:ext cx="254933" cy="196364"/>
          </a:xfrm>
          <a:custGeom>
            <a:avLst/>
            <a:gdLst>
              <a:gd name="connsiteX0" fmla="*/ 228620 w 250586"/>
              <a:gd name="connsiteY0" fmla="*/ 0 h 176007"/>
              <a:gd name="connsiteX1" fmla="*/ 89767 w 250586"/>
              <a:gd name="connsiteY1" fmla="*/ 131260 h 176007"/>
              <a:gd name="connsiteX2" fmla="*/ 23052 w 250586"/>
              <a:gd name="connsiteY2" fmla="*/ 62918 h 176007"/>
              <a:gd name="connsiteX3" fmla="*/ 0 w 250586"/>
              <a:gd name="connsiteY3" fmla="*/ 84885 h 176007"/>
              <a:gd name="connsiteX4" fmla="*/ 88682 w 250586"/>
              <a:gd name="connsiteY4" fmla="*/ 176007 h 176007"/>
              <a:gd name="connsiteX5" fmla="*/ 112005 w 250586"/>
              <a:gd name="connsiteY5" fmla="*/ 154312 h 176007"/>
              <a:gd name="connsiteX6" fmla="*/ 250587 w 250586"/>
              <a:gd name="connsiteY6" fmla="*/ 22781 h 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0586" h="176007">
                <a:moveTo>
                  <a:pt x="228620" y="0"/>
                </a:moveTo>
                <a:lnTo>
                  <a:pt x="89767" y="131260"/>
                </a:lnTo>
                <a:lnTo>
                  <a:pt x="23052" y="62918"/>
                </a:lnTo>
                <a:lnTo>
                  <a:pt x="0" y="84885"/>
                </a:lnTo>
                <a:lnTo>
                  <a:pt x="88682" y="176007"/>
                </a:lnTo>
                <a:lnTo>
                  <a:pt x="112005" y="154312"/>
                </a:lnTo>
                <a:lnTo>
                  <a:pt x="250587" y="22781"/>
                </a:lnTo>
                <a:close/>
              </a:path>
            </a:pathLst>
          </a:custGeom>
          <a:solidFill>
            <a:schemeClr val="accent3"/>
          </a:solidFill>
          <a:ln w="267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85" name="Rectangle: Rounded Corners 10">
            <a:extLst>
              <a:ext uri="{FF2B5EF4-FFF2-40B4-BE49-F238E27FC236}">
                <a16:creationId xmlns:a16="http://schemas.microsoft.com/office/drawing/2014/main" id="{D764091E-C2D2-468A-A73B-DB60B887EA62}"/>
              </a:ext>
            </a:extLst>
          </p:cNvPr>
          <p:cNvSpPr/>
          <p:nvPr/>
        </p:nvSpPr>
        <p:spPr>
          <a:xfrm>
            <a:off x="5461131" y="3943050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C1301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algn="ctr" defTabSz="914400">
              <a:defRPr/>
            </a:pPr>
            <a:r>
              <a:rPr lang="en-US" sz="1200" kern="0">
                <a:solidFill>
                  <a:prstClr val="white"/>
                </a:solidFill>
              </a:rPr>
              <a:t>Not started</a:t>
            </a:r>
          </a:p>
        </p:txBody>
      </p:sp>
      <p:sp>
        <p:nvSpPr>
          <p:cNvPr id="86" name="Rectangle: Rounded Corners 11">
            <a:extLst>
              <a:ext uri="{FF2B5EF4-FFF2-40B4-BE49-F238E27FC236}">
                <a16:creationId xmlns:a16="http://schemas.microsoft.com/office/drawing/2014/main" id="{DBDAD6C8-EA4D-41DE-809E-7E5698F64AB8}"/>
              </a:ext>
            </a:extLst>
          </p:cNvPr>
          <p:cNvSpPr/>
          <p:nvPr/>
        </p:nvSpPr>
        <p:spPr>
          <a:xfrm>
            <a:off x="6729192" y="3943050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F7931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>
                <a:solidFill>
                  <a:prstClr val="black">
                    <a:lumMod val="85000"/>
                    <a:lumOff val="15000"/>
                  </a:prstClr>
                </a:solidFill>
              </a:rPr>
              <a:t>High</a:t>
            </a:r>
          </a:p>
        </p:txBody>
      </p:sp>
      <p:sp>
        <p:nvSpPr>
          <p:cNvPr id="88" name="Rectangle: Rounded Corners 13">
            <a:extLst>
              <a:ext uri="{FF2B5EF4-FFF2-40B4-BE49-F238E27FC236}">
                <a16:creationId xmlns:a16="http://schemas.microsoft.com/office/drawing/2014/main" id="{E415017B-CFE6-4C23-8D29-5128C86E4DB7}"/>
              </a:ext>
            </a:extLst>
          </p:cNvPr>
          <p:cNvSpPr/>
          <p:nvPr/>
        </p:nvSpPr>
        <p:spPr>
          <a:xfrm>
            <a:off x="5461131" y="4322089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C1301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algn="ctr" defTabSz="914400">
              <a:defRPr/>
            </a:pPr>
            <a:r>
              <a:rPr lang="en-US" sz="1200" kern="0">
                <a:solidFill>
                  <a:prstClr val="white"/>
                </a:solidFill>
              </a:rPr>
              <a:t>Not started</a:t>
            </a:r>
          </a:p>
        </p:txBody>
      </p:sp>
      <p:sp>
        <p:nvSpPr>
          <p:cNvPr id="89" name="Rectangle: Rounded Corners 14">
            <a:extLst>
              <a:ext uri="{FF2B5EF4-FFF2-40B4-BE49-F238E27FC236}">
                <a16:creationId xmlns:a16="http://schemas.microsoft.com/office/drawing/2014/main" id="{C9A2C356-86EB-4E0D-AC31-2CF89823DAD6}"/>
              </a:ext>
            </a:extLst>
          </p:cNvPr>
          <p:cNvSpPr/>
          <p:nvPr/>
        </p:nvSpPr>
        <p:spPr>
          <a:xfrm>
            <a:off x="6729192" y="4322089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F7931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>
                <a:solidFill>
                  <a:prstClr val="black">
                    <a:lumMod val="85000"/>
                    <a:lumOff val="15000"/>
                  </a:prstClr>
                </a:solidFill>
              </a:rPr>
              <a:t>High</a:t>
            </a:r>
          </a:p>
        </p:txBody>
      </p:sp>
      <p:sp>
        <p:nvSpPr>
          <p:cNvPr id="94" name="Rectangle: Rounded Corners 19">
            <a:extLst>
              <a:ext uri="{FF2B5EF4-FFF2-40B4-BE49-F238E27FC236}">
                <a16:creationId xmlns:a16="http://schemas.microsoft.com/office/drawing/2014/main" id="{C2430B2B-A561-4A66-9DAD-308D29EB770F}"/>
              </a:ext>
            </a:extLst>
          </p:cNvPr>
          <p:cNvSpPr/>
          <p:nvPr/>
        </p:nvSpPr>
        <p:spPr>
          <a:xfrm>
            <a:off x="5461131" y="5061695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C1301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>
                <a:solidFill>
                  <a:prstClr val="white"/>
                </a:solidFill>
              </a:rPr>
              <a:t>Not started</a:t>
            </a:r>
          </a:p>
        </p:txBody>
      </p:sp>
      <p:sp>
        <p:nvSpPr>
          <p:cNvPr id="95" name="Rectangle: Rounded Corners 20">
            <a:extLst>
              <a:ext uri="{FF2B5EF4-FFF2-40B4-BE49-F238E27FC236}">
                <a16:creationId xmlns:a16="http://schemas.microsoft.com/office/drawing/2014/main" id="{69B9705E-76FE-48B8-AE75-BC63F5A0D96A}"/>
              </a:ext>
            </a:extLst>
          </p:cNvPr>
          <p:cNvSpPr/>
          <p:nvPr/>
        </p:nvSpPr>
        <p:spPr>
          <a:xfrm>
            <a:off x="6729192" y="5061695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F7931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ea typeface="+mn-ea"/>
                <a:cs typeface="+mn-cs"/>
              </a:rPr>
              <a:t>High</a:t>
            </a:r>
          </a:p>
        </p:txBody>
      </p:sp>
      <p:sp>
        <p:nvSpPr>
          <p:cNvPr id="97" name="Rectangle: Rounded Corners 22">
            <a:extLst>
              <a:ext uri="{FF2B5EF4-FFF2-40B4-BE49-F238E27FC236}">
                <a16:creationId xmlns:a16="http://schemas.microsoft.com/office/drawing/2014/main" id="{F8E14D53-84FD-40DB-9DD1-400E377FA728}"/>
              </a:ext>
            </a:extLst>
          </p:cNvPr>
          <p:cNvSpPr/>
          <p:nvPr/>
        </p:nvSpPr>
        <p:spPr>
          <a:xfrm>
            <a:off x="5461131" y="5440734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C1301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>
                <a:solidFill>
                  <a:prstClr val="white"/>
                </a:solidFill>
              </a:rPr>
              <a:t>Not started</a:t>
            </a:r>
          </a:p>
        </p:txBody>
      </p:sp>
      <p:sp>
        <p:nvSpPr>
          <p:cNvPr id="98" name="Rectangle: Rounded Corners 23">
            <a:extLst>
              <a:ext uri="{FF2B5EF4-FFF2-40B4-BE49-F238E27FC236}">
                <a16:creationId xmlns:a16="http://schemas.microsoft.com/office/drawing/2014/main" id="{497144BE-473B-4BEB-A7D8-4E3C55F21E44}"/>
              </a:ext>
            </a:extLst>
          </p:cNvPr>
          <p:cNvSpPr/>
          <p:nvPr/>
        </p:nvSpPr>
        <p:spPr>
          <a:xfrm>
            <a:off x="6729192" y="5440734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F7931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algn="ctr" defTabSz="914400">
              <a:defRPr/>
            </a:pPr>
            <a:r>
              <a:rPr lang="en-US" sz="1200" kern="0">
                <a:solidFill>
                  <a:prstClr val="black">
                    <a:lumMod val="85000"/>
                    <a:lumOff val="15000"/>
                  </a:prstClr>
                </a:solidFill>
              </a:rPr>
              <a:t>High</a:t>
            </a:r>
          </a:p>
        </p:txBody>
      </p:sp>
      <p:sp>
        <p:nvSpPr>
          <p:cNvPr id="100" name="Rectangle: Rounded Corners 25">
            <a:extLst>
              <a:ext uri="{FF2B5EF4-FFF2-40B4-BE49-F238E27FC236}">
                <a16:creationId xmlns:a16="http://schemas.microsoft.com/office/drawing/2014/main" id="{F28709C4-A97F-4361-AB00-061E6CDF0F22}"/>
              </a:ext>
            </a:extLst>
          </p:cNvPr>
          <p:cNvSpPr/>
          <p:nvPr/>
        </p:nvSpPr>
        <p:spPr>
          <a:xfrm>
            <a:off x="5461131" y="5819778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C1301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>
                <a:solidFill>
                  <a:prstClr val="white"/>
                </a:solidFill>
              </a:rPr>
              <a:t>Not started</a:t>
            </a:r>
          </a:p>
        </p:txBody>
      </p:sp>
      <p:sp>
        <p:nvSpPr>
          <p:cNvPr id="101" name="Rectangle: Rounded Corners 26">
            <a:extLst>
              <a:ext uri="{FF2B5EF4-FFF2-40B4-BE49-F238E27FC236}">
                <a16:creationId xmlns:a16="http://schemas.microsoft.com/office/drawing/2014/main" id="{E413E375-01D2-421D-A856-FF87114076FA}"/>
              </a:ext>
            </a:extLst>
          </p:cNvPr>
          <p:cNvSpPr/>
          <p:nvPr/>
        </p:nvSpPr>
        <p:spPr>
          <a:xfrm>
            <a:off x="6729192" y="5819778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F7931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algn="ctr" defTabSz="914400">
              <a:defRPr/>
            </a:pPr>
            <a:r>
              <a:rPr lang="en-US" sz="1200" kern="0">
                <a:solidFill>
                  <a:prstClr val="black">
                    <a:lumMod val="85000"/>
                    <a:lumOff val="15000"/>
                  </a:prstClr>
                </a:solidFill>
              </a:rPr>
              <a:t>Medium</a:t>
            </a:r>
          </a:p>
        </p:txBody>
      </p:sp>
      <p:sp>
        <p:nvSpPr>
          <p:cNvPr id="102" name="Graphic 3" descr="Checkmark">
            <a:extLst>
              <a:ext uri="{FF2B5EF4-FFF2-40B4-BE49-F238E27FC236}">
                <a16:creationId xmlns:a16="http://schemas.microsoft.com/office/drawing/2014/main" id="{D63D3523-A25B-4BE7-8B9A-5A45C7D5D402}"/>
              </a:ext>
            </a:extLst>
          </p:cNvPr>
          <p:cNvSpPr/>
          <p:nvPr/>
        </p:nvSpPr>
        <p:spPr>
          <a:xfrm>
            <a:off x="425583" y="3949415"/>
            <a:ext cx="254933" cy="196364"/>
          </a:xfrm>
          <a:custGeom>
            <a:avLst/>
            <a:gdLst>
              <a:gd name="connsiteX0" fmla="*/ 228620 w 250586"/>
              <a:gd name="connsiteY0" fmla="*/ 0 h 176007"/>
              <a:gd name="connsiteX1" fmla="*/ 89767 w 250586"/>
              <a:gd name="connsiteY1" fmla="*/ 131260 h 176007"/>
              <a:gd name="connsiteX2" fmla="*/ 23052 w 250586"/>
              <a:gd name="connsiteY2" fmla="*/ 62918 h 176007"/>
              <a:gd name="connsiteX3" fmla="*/ 0 w 250586"/>
              <a:gd name="connsiteY3" fmla="*/ 84885 h 176007"/>
              <a:gd name="connsiteX4" fmla="*/ 88682 w 250586"/>
              <a:gd name="connsiteY4" fmla="*/ 176007 h 176007"/>
              <a:gd name="connsiteX5" fmla="*/ 112005 w 250586"/>
              <a:gd name="connsiteY5" fmla="*/ 154312 h 176007"/>
              <a:gd name="connsiteX6" fmla="*/ 250587 w 250586"/>
              <a:gd name="connsiteY6" fmla="*/ 22781 h 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0586" h="176007">
                <a:moveTo>
                  <a:pt x="228620" y="0"/>
                </a:moveTo>
                <a:lnTo>
                  <a:pt x="89767" y="131260"/>
                </a:lnTo>
                <a:lnTo>
                  <a:pt x="23052" y="62918"/>
                </a:lnTo>
                <a:lnTo>
                  <a:pt x="0" y="84885"/>
                </a:lnTo>
                <a:lnTo>
                  <a:pt x="88682" y="176007"/>
                </a:lnTo>
                <a:lnTo>
                  <a:pt x="112005" y="154312"/>
                </a:lnTo>
                <a:lnTo>
                  <a:pt x="250587" y="22781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267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03" name="Graphic 4" descr="Checkmark">
            <a:extLst>
              <a:ext uri="{FF2B5EF4-FFF2-40B4-BE49-F238E27FC236}">
                <a16:creationId xmlns:a16="http://schemas.microsoft.com/office/drawing/2014/main" id="{E4C028EE-A963-4398-81E5-E802D2DA5A35}"/>
              </a:ext>
            </a:extLst>
          </p:cNvPr>
          <p:cNvSpPr/>
          <p:nvPr/>
        </p:nvSpPr>
        <p:spPr>
          <a:xfrm>
            <a:off x="425583" y="4317592"/>
            <a:ext cx="254933" cy="196364"/>
          </a:xfrm>
          <a:custGeom>
            <a:avLst/>
            <a:gdLst>
              <a:gd name="connsiteX0" fmla="*/ 228620 w 250586"/>
              <a:gd name="connsiteY0" fmla="*/ 0 h 176007"/>
              <a:gd name="connsiteX1" fmla="*/ 89767 w 250586"/>
              <a:gd name="connsiteY1" fmla="*/ 131260 h 176007"/>
              <a:gd name="connsiteX2" fmla="*/ 23052 w 250586"/>
              <a:gd name="connsiteY2" fmla="*/ 62918 h 176007"/>
              <a:gd name="connsiteX3" fmla="*/ 0 w 250586"/>
              <a:gd name="connsiteY3" fmla="*/ 84885 h 176007"/>
              <a:gd name="connsiteX4" fmla="*/ 88682 w 250586"/>
              <a:gd name="connsiteY4" fmla="*/ 176007 h 176007"/>
              <a:gd name="connsiteX5" fmla="*/ 112005 w 250586"/>
              <a:gd name="connsiteY5" fmla="*/ 154312 h 176007"/>
              <a:gd name="connsiteX6" fmla="*/ 250587 w 250586"/>
              <a:gd name="connsiteY6" fmla="*/ 22781 h 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0586" h="176007">
                <a:moveTo>
                  <a:pt x="228620" y="0"/>
                </a:moveTo>
                <a:lnTo>
                  <a:pt x="89767" y="131260"/>
                </a:lnTo>
                <a:lnTo>
                  <a:pt x="23052" y="62918"/>
                </a:lnTo>
                <a:lnTo>
                  <a:pt x="0" y="84885"/>
                </a:lnTo>
                <a:lnTo>
                  <a:pt x="88682" y="176007"/>
                </a:lnTo>
                <a:lnTo>
                  <a:pt x="112005" y="154312"/>
                </a:lnTo>
                <a:lnTo>
                  <a:pt x="250587" y="22781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267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05" name="Graphic 6" descr="Checkmark">
            <a:extLst>
              <a:ext uri="{FF2B5EF4-FFF2-40B4-BE49-F238E27FC236}">
                <a16:creationId xmlns:a16="http://schemas.microsoft.com/office/drawing/2014/main" id="{A642DABA-EFF8-4058-996A-20E7D9C33DB1}"/>
              </a:ext>
            </a:extLst>
          </p:cNvPr>
          <p:cNvSpPr/>
          <p:nvPr/>
        </p:nvSpPr>
        <p:spPr>
          <a:xfrm>
            <a:off x="425583" y="5137071"/>
            <a:ext cx="254933" cy="196364"/>
          </a:xfrm>
          <a:custGeom>
            <a:avLst/>
            <a:gdLst>
              <a:gd name="connsiteX0" fmla="*/ 228620 w 250586"/>
              <a:gd name="connsiteY0" fmla="*/ 0 h 176007"/>
              <a:gd name="connsiteX1" fmla="*/ 89767 w 250586"/>
              <a:gd name="connsiteY1" fmla="*/ 131260 h 176007"/>
              <a:gd name="connsiteX2" fmla="*/ 23052 w 250586"/>
              <a:gd name="connsiteY2" fmla="*/ 62918 h 176007"/>
              <a:gd name="connsiteX3" fmla="*/ 0 w 250586"/>
              <a:gd name="connsiteY3" fmla="*/ 84885 h 176007"/>
              <a:gd name="connsiteX4" fmla="*/ 88682 w 250586"/>
              <a:gd name="connsiteY4" fmla="*/ 176007 h 176007"/>
              <a:gd name="connsiteX5" fmla="*/ 112005 w 250586"/>
              <a:gd name="connsiteY5" fmla="*/ 154312 h 176007"/>
              <a:gd name="connsiteX6" fmla="*/ 250587 w 250586"/>
              <a:gd name="connsiteY6" fmla="*/ 22781 h 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0586" h="176007">
                <a:moveTo>
                  <a:pt x="228620" y="0"/>
                </a:moveTo>
                <a:lnTo>
                  <a:pt x="89767" y="131260"/>
                </a:lnTo>
                <a:lnTo>
                  <a:pt x="23052" y="62918"/>
                </a:lnTo>
                <a:lnTo>
                  <a:pt x="0" y="84885"/>
                </a:lnTo>
                <a:lnTo>
                  <a:pt x="88682" y="176007"/>
                </a:lnTo>
                <a:lnTo>
                  <a:pt x="112005" y="154312"/>
                </a:lnTo>
                <a:lnTo>
                  <a:pt x="250587" y="22781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267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06" name="Graphic 7" descr="Checkmark">
            <a:extLst>
              <a:ext uri="{FF2B5EF4-FFF2-40B4-BE49-F238E27FC236}">
                <a16:creationId xmlns:a16="http://schemas.microsoft.com/office/drawing/2014/main" id="{D0FB9DBC-BC27-4AB4-8F85-F92EF099072D}"/>
              </a:ext>
            </a:extLst>
          </p:cNvPr>
          <p:cNvSpPr/>
          <p:nvPr/>
        </p:nvSpPr>
        <p:spPr>
          <a:xfrm>
            <a:off x="425583" y="5505248"/>
            <a:ext cx="254933" cy="196364"/>
          </a:xfrm>
          <a:custGeom>
            <a:avLst/>
            <a:gdLst>
              <a:gd name="connsiteX0" fmla="*/ 228620 w 250586"/>
              <a:gd name="connsiteY0" fmla="*/ 0 h 176007"/>
              <a:gd name="connsiteX1" fmla="*/ 89767 w 250586"/>
              <a:gd name="connsiteY1" fmla="*/ 131260 h 176007"/>
              <a:gd name="connsiteX2" fmla="*/ 23052 w 250586"/>
              <a:gd name="connsiteY2" fmla="*/ 62918 h 176007"/>
              <a:gd name="connsiteX3" fmla="*/ 0 w 250586"/>
              <a:gd name="connsiteY3" fmla="*/ 84885 h 176007"/>
              <a:gd name="connsiteX4" fmla="*/ 88682 w 250586"/>
              <a:gd name="connsiteY4" fmla="*/ 176007 h 176007"/>
              <a:gd name="connsiteX5" fmla="*/ 112005 w 250586"/>
              <a:gd name="connsiteY5" fmla="*/ 154312 h 176007"/>
              <a:gd name="connsiteX6" fmla="*/ 250587 w 250586"/>
              <a:gd name="connsiteY6" fmla="*/ 22781 h 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0586" h="176007">
                <a:moveTo>
                  <a:pt x="228620" y="0"/>
                </a:moveTo>
                <a:lnTo>
                  <a:pt x="89767" y="131260"/>
                </a:lnTo>
                <a:lnTo>
                  <a:pt x="23052" y="62918"/>
                </a:lnTo>
                <a:lnTo>
                  <a:pt x="0" y="84885"/>
                </a:lnTo>
                <a:lnTo>
                  <a:pt x="88682" y="176007"/>
                </a:lnTo>
                <a:lnTo>
                  <a:pt x="112005" y="154312"/>
                </a:lnTo>
                <a:lnTo>
                  <a:pt x="250587" y="22781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267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07" name="Graphic 8" descr="Checkmark">
            <a:extLst>
              <a:ext uri="{FF2B5EF4-FFF2-40B4-BE49-F238E27FC236}">
                <a16:creationId xmlns:a16="http://schemas.microsoft.com/office/drawing/2014/main" id="{9441916A-F2E6-4E26-9340-83E49F1C76FD}"/>
              </a:ext>
            </a:extLst>
          </p:cNvPr>
          <p:cNvSpPr/>
          <p:nvPr/>
        </p:nvSpPr>
        <p:spPr>
          <a:xfrm>
            <a:off x="425583" y="5873423"/>
            <a:ext cx="254933" cy="196364"/>
          </a:xfrm>
          <a:custGeom>
            <a:avLst/>
            <a:gdLst>
              <a:gd name="connsiteX0" fmla="*/ 228620 w 250586"/>
              <a:gd name="connsiteY0" fmla="*/ 0 h 176007"/>
              <a:gd name="connsiteX1" fmla="*/ 89767 w 250586"/>
              <a:gd name="connsiteY1" fmla="*/ 131260 h 176007"/>
              <a:gd name="connsiteX2" fmla="*/ 23052 w 250586"/>
              <a:gd name="connsiteY2" fmla="*/ 62918 h 176007"/>
              <a:gd name="connsiteX3" fmla="*/ 0 w 250586"/>
              <a:gd name="connsiteY3" fmla="*/ 84885 h 176007"/>
              <a:gd name="connsiteX4" fmla="*/ 88682 w 250586"/>
              <a:gd name="connsiteY4" fmla="*/ 176007 h 176007"/>
              <a:gd name="connsiteX5" fmla="*/ 112005 w 250586"/>
              <a:gd name="connsiteY5" fmla="*/ 154312 h 176007"/>
              <a:gd name="connsiteX6" fmla="*/ 250587 w 250586"/>
              <a:gd name="connsiteY6" fmla="*/ 22781 h 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0586" h="176007">
                <a:moveTo>
                  <a:pt x="228620" y="0"/>
                </a:moveTo>
                <a:lnTo>
                  <a:pt x="89767" y="131260"/>
                </a:lnTo>
                <a:lnTo>
                  <a:pt x="23052" y="62918"/>
                </a:lnTo>
                <a:lnTo>
                  <a:pt x="0" y="84885"/>
                </a:lnTo>
                <a:lnTo>
                  <a:pt x="88682" y="176007"/>
                </a:lnTo>
                <a:lnTo>
                  <a:pt x="112005" y="154312"/>
                </a:lnTo>
                <a:lnTo>
                  <a:pt x="250587" y="22781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267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" name="Rectangle: Rounded Corners 16">
            <a:extLst>
              <a:ext uri="{FF2B5EF4-FFF2-40B4-BE49-F238E27FC236}">
                <a16:creationId xmlns:a16="http://schemas.microsoft.com/office/drawing/2014/main" id="{0B8BB5FC-C808-858B-7D25-9CB77D41EB14}"/>
              </a:ext>
            </a:extLst>
          </p:cNvPr>
          <p:cNvSpPr/>
          <p:nvPr/>
        </p:nvSpPr>
        <p:spPr>
          <a:xfrm>
            <a:off x="5461130" y="2824752"/>
            <a:ext cx="1201589" cy="290462"/>
          </a:xfrm>
          <a:prstGeom prst="roundRect">
            <a:avLst>
              <a:gd name="adj" fmla="val 50000"/>
            </a:avLst>
          </a:prstGeom>
          <a:solidFill>
            <a:srgbClr val="A2B96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sz="1200" kern="0" dirty="0">
                <a:solidFill>
                  <a:prstClr val="black">
                    <a:lumMod val="85000"/>
                    <a:lumOff val="15000"/>
                  </a:prstClr>
                </a:solidFill>
              </a:rPr>
              <a:t>Complete</a:t>
            </a:r>
          </a:p>
        </p:txBody>
      </p:sp>
    </p:spTree>
    <p:extLst>
      <p:ext uri="{BB962C8B-B14F-4D97-AF65-F5344CB8AC3E}">
        <p14:creationId xmlns:p14="http://schemas.microsoft.com/office/powerpoint/2010/main" val="250432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23B3D9-5974-6DF1-41E8-FE8BB3E28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167678"/>
            <a:ext cx="11204448" cy="463610"/>
          </a:xfrm>
        </p:spPr>
        <p:txBody>
          <a:bodyPr/>
          <a:lstStyle/>
          <a:p>
            <a:r>
              <a:rPr lang="en-US" dirty="0"/>
              <a:t>COX - CIAM Data </a:t>
            </a:r>
            <a:r>
              <a:rPr lang="en-US" dirty="0" err="1"/>
              <a:t>Engg</a:t>
            </a:r>
            <a:r>
              <a:rPr lang="en-US" dirty="0"/>
              <a:t> and BI Reporting  - Overview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CF66A7C-FACA-CDF4-CE52-E253CDBB61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828501-58BA-692E-22E4-583AADE806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2" name="Rectangle 111"/>
          <p:cNvSpPr/>
          <p:nvPr/>
        </p:nvSpPr>
        <p:spPr bwMode="auto">
          <a:xfrm>
            <a:off x="1089515" y="2939600"/>
            <a:ext cx="5447899" cy="2919609"/>
          </a:xfrm>
          <a:prstGeom prst="rect">
            <a:avLst/>
          </a:prstGeom>
          <a:solidFill>
            <a:schemeClr val="accent5">
              <a:lumMod val="20000"/>
              <a:lumOff val="80000"/>
              <a:alpha val="55000"/>
            </a:schemeClr>
          </a:solidFill>
          <a:ln>
            <a:noFill/>
          </a:ln>
        </p:spPr>
        <p:txBody>
          <a:bodyPr vert="horz" wrap="square" lIns="42863" tIns="21431" rIns="42863" bIns="21431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 sz="1600"/>
          </a:p>
        </p:txBody>
      </p:sp>
      <p:sp>
        <p:nvSpPr>
          <p:cNvPr id="113" name="Rectangle 112"/>
          <p:cNvSpPr/>
          <p:nvPr/>
        </p:nvSpPr>
        <p:spPr bwMode="auto">
          <a:xfrm>
            <a:off x="0" y="1100860"/>
            <a:ext cx="3769078" cy="3525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42863" tIns="21431" rIns="42863" bIns="2143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</a:rPr>
              <a:t>Project Vis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</a:rPr>
              <a:t> </a:t>
            </a:r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</a:rPr>
              <a:t>Enable</a:t>
            </a:r>
            <a:r>
              <a:rPr kumimoji="0" lang="en-US" sz="1100" i="0" u="none" strike="noStrike" kern="1200" cap="none" spc="0" normalizeH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Arial"/>
              </a:rPr>
              <a:t> Customer Authentication &amp; Track  Activity 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14" name="Rectangle 113"/>
          <p:cNvSpPr/>
          <p:nvPr/>
        </p:nvSpPr>
        <p:spPr bwMode="auto">
          <a:xfrm>
            <a:off x="3884024" y="1100860"/>
            <a:ext cx="3944982" cy="3525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42863" tIns="21431" rIns="42863" bIns="2143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Data Integration &amp; Transforma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ate Data Staging</a:t>
            </a:r>
            <a:r>
              <a:rPr kumimoji="0" lang="en-US" sz="1100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Layer From Multiple Data Sources</a:t>
            </a:r>
            <a:endParaRPr kumimoji="0" lang="en-US" sz="1100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5" name="Rectangle 114"/>
          <p:cNvSpPr/>
          <p:nvPr/>
        </p:nvSpPr>
        <p:spPr bwMode="auto">
          <a:xfrm>
            <a:off x="-2230" y="826958"/>
            <a:ext cx="12192001" cy="208800"/>
          </a:xfrm>
          <a:prstGeom prst="rect">
            <a:avLst/>
          </a:prstGeom>
          <a:gradFill>
            <a:gsLst>
              <a:gs pos="0">
                <a:srgbClr val="00D5FE"/>
              </a:gs>
              <a:gs pos="71000">
                <a:srgbClr val="0190CD"/>
              </a:gs>
            </a:gsLst>
            <a:lin ang="48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77"/>
            <a:r>
              <a:rPr lang="en-US" sz="1100" b="1" dirty="0">
                <a:solidFill>
                  <a:prstClr val="white"/>
                </a:solidFill>
                <a:latin typeface="Arial"/>
              </a:rPr>
              <a:t>ENGAGEMENT OVERVIEW</a:t>
            </a:r>
          </a:p>
        </p:txBody>
      </p:sp>
      <p:sp>
        <p:nvSpPr>
          <p:cNvPr id="116" name="TextBox 115"/>
          <p:cNvSpPr txBox="1"/>
          <p:nvPr/>
        </p:nvSpPr>
        <p:spPr>
          <a:xfrm>
            <a:off x="374470" y="1473898"/>
            <a:ext cx="3241490" cy="110536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prstClr val="black"/>
                </a:solidFill>
              </a:rPr>
              <a:t>Every customer is enabled to authenticate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prstClr val="black"/>
                </a:solidFill>
              </a:rPr>
              <a:t>Every customer is able to authenticate</a:t>
            </a:r>
            <a:endParaRPr lang="en-US" sz="900" dirty="0">
              <a:solidFill>
                <a:prstClr val="black"/>
              </a:solidFill>
              <a:ea typeface="Calibri"/>
              <a:cs typeface="Calibr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 dirty="0">
                <a:solidFill>
                  <a:prstClr val="black"/>
                </a:solidFill>
              </a:rPr>
              <a:t>Enable View into customer activity &amp; transactions</a:t>
            </a:r>
          </a:p>
        </p:txBody>
      </p:sp>
      <p:sp>
        <p:nvSpPr>
          <p:cNvPr id="117" name="TextBox 116"/>
          <p:cNvSpPr txBox="1"/>
          <p:nvPr/>
        </p:nvSpPr>
        <p:spPr>
          <a:xfrm>
            <a:off x="4058194" y="1473898"/>
            <a:ext cx="3628863" cy="11310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indent="-28575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 dirty="0">
                <a:solidFill>
                  <a:prstClr val="black"/>
                </a:solidFill>
              </a:rPr>
              <a:t>Access enabled for the AWS DB/Athena</a:t>
            </a:r>
          </a:p>
          <a:p>
            <a:pPr marL="285750" marR="0" indent="-28575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 dirty="0">
                <a:solidFill>
                  <a:prstClr val="black"/>
                </a:solidFill>
              </a:rPr>
              <a:t>Design &amp; Align on the Data Framework and Models</a:t>
            </a:r>
          </a:p>
          <a:p>
            <a:pPr marL="285750" marR="0" indent="-28575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 dirty="0">
                <a:solidFill>
                  <a:prstClr val="black"/>
                </a:solidFill>
              </a:rPr>
              <a:t>Integrate Data Queries from Multiple Data Tales </a:t>
            </a:r>
          </a:p>
          <a:p>
            <a:pPr marL="285750" marR="0" indent="-28575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 dirty="0">
                <a:solidFill>
                  <a:prstClr val="black"/>
                </a:solidFill>
              </a:rPr>
              <a:t>Data and business logic validation</a:t>
            </a:r>
          </a:p>
          <a:p>
            <a:pPr marL="285750" marR="0" indent="-28575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 dirty="0">
                <a:solidFill>
                  <a:prstClr val="black"/>
                </a:solidFill>
              </a:rPr>
              <a:t>Design ETL Process for the staging layer</a:t>
            </a:r>
          </a:p>
        </p:txBody>
      </p:sp>
      <p:sp>
        <p:nvSpPr>
          <p:cNvPr id="118" name="TextBox 117"/>
          <p:cNvSpPr txBox="1"/>
          <p:nvPr/>
        </p:nvSpPr>
        <p:spPr>
          <a:xfrm>
            <a:off x="8310504" y="1473898"/>
            <a:ext cx="3578430" cy="11310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indent="-28575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 dirty="0">
                <a:solidFill>
                  <a:prstClr val="black"/>
                </a:solidFill>
              </a:rPr>
              <a:t>Access enabled for the AWS DB/Athena</a:t>
            </a:r>
          </a:p>
          <a:p>
            <a:pPr marL="285750" marR="0" indent="-28575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 dirty="0">
                <a:solidFill>
                  <a:prstClr val="black"/>
                </a:solidFill>
              </a:rPr>
              <a:t>Design &amp; Align on the BI Framework and Wireframes</a:t>
            </a:r>
          </a:p>
          <a:p>
            <a:pPr marL="285750" marR="0" indent="-28575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 dirty="0">
                <a:solidFill>
                  <a:prstClr val="black"/>
                </a:solidFill>
              </a:rPr>
              <a:t>Integrate BI with the Data Staging Layer</a:t>
            </a:r>
          </a:p>
          <a:p>
            <a:pPr marL="285750" marR="0" indent="-28575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 dirty="0">
                <a:solidFill>
                  <a:prstClr val="black"/>
                </a:solidFill>
              </a:rPr>
              <a:t>Validate Data Transformation based on Business Logic </a:t>
            </a:r>
          </a:p>
          <a:p>
            <a:pPr marL="285750" marR="0" indent="-28575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 dirty="0">
                <a:solidFill>
                  <a:prstClr val="black"/>
                </a:solidFill>
              </a:rPr>
              <a:t>Design Tableau based Dashboards for Business </a:t>
            </a:r>
          </a:p>
        </p:txBody>
      </p:sp>
      <p:sp>
        <p:nvSpPr>
          <p:cNvPr id="121" name="Rectangle 120"/>
          <p:cNvSpPr/>
          <p:nvPr/>
        </p:nvSpPr>
        <p:spPr bwMode="auto">
          <a:xfrm>
            <a:off x="1215957" y="3050012"/>
            <a:ext cx="2507484" cy="396000"/>
          </a:xfrm>
          <a:prstGeom prst="rect">
            <a:avLst/>
          </a:prstGeom>
          <a:gradFill flip="none" rotWithShape="1">
            <a:gsLst>
              <a:gs pos="0">
                <a:srgbClr val="00B050"/>
              </a:gs>
              <a:gs pos="99000">
                <a:srgbClr val="FC9318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 MODELS/FRAMEWORK</a:t>
            </a:r>
          </a:p>
        </p:txBody>
      </p:sp>
      <p:sp>
        <p:nvSpPr>
          <p:cNvPr id="122" name="Rectangle 121"/>
          <p:cNvSpPr/>
          <p:nvPr/>
        </p:nvSpPr>
        <p:spPr bwMode="auto">
          <a:xfrm>
            <a:off x="3910570" y="3044366"/>
            <a:ext cx="2468399" cy="396000"/>
          </a:xfrm>
          <a:prstGeom prst="rect">
            <a:avLst/>
          </a:prstGeom>
          <a:gradFill flip="none" rotWithShape="1">
            <a:gsLst>
              <a:gs pos="0">
                <a:srgbClr val="00B050"/>
              </a:gs>
              <a:gs pos="99000">
                <a:srgbClr val="FC9318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IN" sz="900" b="1">
                <a:solidFill>
                  <a:prstClr val="white"/>
                </a:solidFill>
                <a:latin typeface="Arial"/>
              </a:rPr>
              <a:t>BI DASHBOARDS</a:t>
            </a:r>
          </a:p>
        </p:txBody>
      </p:sp>
      <p:sp>
        <p:nvSpPr>
          <p:cNvPr id="123" name="Rectangle 122"/>
          <p:cNvSpPr/>
          <p:nvPr/>
        </p:nvSpPr>
        <p:spPr bwMode="auto">
          <a:xfrm>
            <a:off x="1215957" y="3560307"/>
            <a:ext cx="2507484" cy="1274033"/>
          </a:xfrm>
          <a:prstGeom prst="rect">
            <a:avLst/>
          </a:prstGeom>
          <a:solidFill>
            <a:schemeClr val="bg1"/>
          </a:solidFill>
          <a:ln>
            <a:solidFill>
              <a:srgbClr val="949494"/>
            </a:solidFill>
          </a:ln>
        </p:spPr>
        <p:txBody>
          <a:bodyPr vert="horz" wrap="square" lIns="42863" tIns="21431" rIns="42863" bIns="21431" numCol="1" rtlCol="0" anchor="ctr" anchorCtr="0" compatLnSpc="1">
            <a:prstTxWarp prst="textNoShape">
              <a:avLst/>
            </a:prstTxWarp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Account &amp; </a:t>
            </a:r>
            <a:r>
              <a:rPr lang="en-US" sz="1050" b="1" noProof="0" dirty="0">
                <a:solidFill>
                  <a:prstClr val="black"/>
                </a:solidFill>
              </a:rPr>
              <a:t>P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rofile –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50" b="1" dirty="0">
                <a:solidFill>
                  <a:srgbClr val="00B050"/>
                </a:solidFill>
              </a:rPr>
              <a:t>Extraction of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</a:rPr>
              <a:t>Fact</a:t>
            </a:r>
            <a:r>
              <a:rPr kumimoji="0" lang="en-US" sz="1050" b="1" i="0" u="none" strike="noStrike" kern="1200" cap="none" spc="0" normalizeH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</a:rPr>
              <a:t> Tables – Completed </a:t>
            </a:r>
          </a:p>
          <a:p>
            <a:pPr marL="171450" lvl="0" indent="-171450" defTabSz="914400">
              <a:buFont typeface="Arial" panose="020B0604020202020204" pitchFamily="34" charset="0"/>
              <a:buChar char="•"/>
              <a:defRPr/>
            </a:pPr>
            <a:r>
              <a:rPr lang="en-US" sz="1050" b="1" dirty="0">
                <a:solidFill>
                  <a:srgbClr val="FC9318"/>
                </a:solidFill>
              </a:rPr>
              <a:t>Athena query preparation for Metrics  - WIP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srgbClr val="FC9318"/>
              </a:solidFill>
              <a:effectLst/>
              <a:uLnTx/>
              <a:uFillTx/>
            </a:endParaRPr>
          </a:p>
          <a:p>
            <a:pPr defTabSz="914400">
              <a:defRPr/>
            </a:pPr>
            <a:r>
              <a:rPr lang="en-US" sz="1050" b="1" dirty="0" err="1">
                <a:solidFill>
                  <a:prstClr val="black"/>
                </a:solidFill>
              </a:rPr>
              <a:t>Octa</a:t>
            </a:r>
            <a:r>
              <a:rPr lang="en-US" sz="1050" b="1" dirty="0">
                <a:solidFill>
                  <a:prstClr val="black"/>
                </a:solidFill>
              </a:rPr>
              <a:t>/Adobe Activity Fact Tables –</a:t>
            </a:r>
          </a:p>
          <a:p>
            <a:pPr marL="171450" indent="-171450" defTabSz="914400">
              <a:buFont typeface="Arial" panose="020B0604020202020204" pitchFamily="34" charset="0"/>
              <a:buChar char="•"/>
              <a:defRPr/>
            </a:pPr>
            <a:r>
              <a:rPr lang="en-US" sz="1050" b="1" dirty="0">
                <a:solidFill>
                  <a:srgbClr val="00B050"/>
                </a:solidFill>
              </a:rPr>
              <a:t>Extraction of Fact Tables – Completed </a:t>
            </a:r>
          </a:p>
          <a:p>
            <a:pPr marL="171450" lvl="0" indent="-171450" defTabSz="914400">
              <a:buFont typeface="Arial" panose="020B0604020202020204" pitchFamily="34" charset="0"/>
              <a:buChar char="•"/>
              <a:defRPr/>
            </a:pPr>
            <a:r>
              <a:rPr lang="en-US" sz="1050" b="1" dirty="0">
                <a:solidFill>
                  <a:srgbClr val="FC9318"/>
                </a:solidFill>
              </a:rPr>
              <a:t>Cox Validation of Fact Tables – Ongoing </a:t>
            </a:r>
          </a:p>
        </p:txBody>
      </p:sp>
      <p:sp>
        <p:nvSpPr>
          <p:cNvPr id="124" name="Rectangle 123"/>
          <p:cNvSpPr/>
          <p:nvPr/>
        </p:nvSpPr>
        <p:spPr bwMode="auto">
          <a:xfrm>
            <a:off x="3910569" y="3560308"/>
            <a:ext cx="2468400" cy="1274032"/>
          </a:xfrm>
          <a:prstGeom prst="rect">
            <a:avLst/>
          </a:prstGeom>
          <a:solidFill>
            <a:schemeClr val="bg1"/>
          </a:solidFill>
          <a:ln>
            <a:solidFill>
              <a:srgbClr val="0D4368"/>
            </a:solidFill>
          </a:ln>
        </p:spPr>
        <p:txBody>
          <a:bodyPr vert="horz" wrap="square" lIns="42863" tIns="21431" rIns="42863" bIns="21431" numCol="1" rtlCol="0" anchor="ctr" anchorCtr="0" compatLnSpc="1">
            <a:prstTxWarp prst="textNoShape">
              <a:avLst/>
            </a:prstTxWarp>
          </a:bodyPr>
          <a:lstStyle/>
          <a:p>
            <a:pPr marL="171450" indent="-171450" defTabSz="914400">
              <a:buFont typeface="Arial" panose="020B0604020202020204" pitchFamily="34" charset="0"/>
              <a:buChar char="•"/>
              <a:defRPr/>
            </a:pPr>
            <a:r>
              <a:rPr lang="en-US" sz="1050" b="1" dirty="0">
                <a:solidFill>
                  <a:srgbClr val="00B050"/>
                </a:solidFill>
              </a:rPr>
              <a:t>Account &amp; Profile Fact Tables Wireframe – Completed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050" b="1" dirty="0">
                <a:solidFill>
                  <a:srgbClr val="FC9318"/>
                </a:solidFill>
              </a:rPr>
              <a:t>Account &amp; Profile Fact Tables Dashboard – WIP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050" b="1" dirty="0">
                <a:solidFill>
                  <a:srgbClr val="FC9318"/>
                </a:solidFill>
              </a:rPr>
              <a:t>Octa/Adobe Activity Fact Tables Dashboards – WIP</a:t>
            </a:r>
          </a:p>
        </p:txBody>
      </p:sp>
      <p:sp>
        <p:nvSpPr>
          <p:cNvPr id="125" name="Rectangle 124"/>
          <p:cNvSpPr/>
          <p:nvPr/>
        </p:nvSpPr>
        <p:spPr bwMode="auto">
          <a:xfrm>
            <a:off x="-2230" y="2687645"/>
            <a:ext cx="12194230" cy="207715"/>
          </a:xfrm>
          <a:prstGeom prst="rect">
            <a:avLst/>
          </a:prstGeom>
          <a:solidFill>
            <a:srgbClr val="002060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defTabSz="1218987"/>
            <a:r>
              <a:rPr lang="en-US" sz="1000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CURRENT </a:t>
            </a:r>
            <a:r>
              <a:rPr lang="en-US" sz="1000" b="1" kern="0">
                <a:solidFill>
                  <a:srgbClr val="FFFFFF"/>
                </a:solidFill>
                <a:latin typeface="Arial"/>
                <a:cs typeface="Arial" pitchFamily="34" charset="0"/>
              </a:rPr>
              <a:t>PROGRESS (As </a:t>
            </a:r>
            <a:r>
              <a:rPr lang="en-US" sz="1000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Per Original </a:t>
            </a:r>
            <a:r>
              <a:rPr lang="en-US" sz="1000" b="1" kern="0">
                <a:solidFill>
                  <a:srgbClr val="FFFFFF"/>
                </a:solidFill>
                <a:latin typeface="Arial"/>
                <a:cs typeface="Arial" pitchFamily="34" charset="0"/>
              </a:rPr>
              <a:t>Planned Timeline)</a:t>
            </a:r>
            <a:endParaRPr lang="en-US" sz="1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cxnSp>
        <p:nvCxnSpPr>
          <p:cNvPr id="126" name="Straight Arrow Connector 125"/>
          <p:cNvCxnSpPr/>
          <p:nvPr/>
        </p:nvCxnSpPr>
        <p:spPr>
          <a:xfrm flipV="1">
            <a:off x="1084528" y="6168176"/>
            <a:ext cx="10804406" cy="23618"/>
          </a:xfrm>
          <a:prstGeom prst="straightConnector1">
            <a:avLst/>
          </a:prstGeom>
          <a:ln>
            <a:solidFill>
              <a:srgbClr val="00206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tangle 126"/>
          <p:cNvSpPr/>
          <p:nvPr/>
        </p:nvSpPr>
        <p:spPr>
          <a:xfrm>
            <a:off x="4572106" y="6060501"/>
            <a:ext cx="3225562" cy="253916"/>
          </a:xfrm>
          <a:prstGeom prst="rect">
            <a:avLst/>
          </a:prstGeom>
          <a:solidFill>
            <a:srgbClr val="002060"/>
          </a:solidFill>
        </p:spPr>
        <p:txBody>
          <a:bodyPr wrap="none">
            <a:spAutoFit/>
          </a:bodyPr>
          <a:lstStyle/>
          <a:p>
            <a:pPr lvl="0" algn="ctr">
              <a:defRPr/>
            </a:pPr>
            <a:r>
              <a:rPr lang="en-US" sz="1050" b="1">
                <a:solidFill>
                  <a:schemeClr val="bg1"/>
                </a:solidFill>
              </a:rPr>
              <a:t>Ongoing Data &amp; Business Logic Enhancements</a:t>
            </a:r>
          </a:p>
        </p:txBody>
      </p:sp>
      <p:sp>
        <p:nvSpPr>
          <p:cNvPr id="128" name="Rectangle 127"/>
          <p:cNvSpPr/>
          <p:nvPr/>
        </p:nvSpPr>
        <p:spPr bwMode="auto">
          <a:xfrm>
            <a:off x="7943952" y="1100860"/>
            <a:ext cx="3944982" cy="3525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42863" tIns="21431" rIns="42863" bIns="2143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</a:rPr>
              <a:t>Tableau Based BI Dashboard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Arial"/>
              </a:rPr>
              <a:t>Create BI </a:t>
            </a:r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</a:rPr>
              <a:t>Dashboards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31" name="TextBox 130"/>
          <p:cNvSpPr txBox="1"/>
          <p:nvPr/>
        </p:nvSpPr>
        <p:spPr>
          <a:xfrm>
            <a:off x="1215957" y="4933827"/>
            <a:ext cx="2507484" cy="900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050" b="1" dirty="0"/>
              <a:t>Limited access to Cox S3 data tables </a:t>
            </a:r>
            <a:r>
              <a:rPr lang="en-US" sz="1050" dirty="0"/>
              <a:t>making data validation a longer process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050" b="1" dirty="0"/>
              <a:t>Changes to the Lookup Rules post validation </a:t>
            </a:r>
            <a:r>
              <a:rPr lang="en-US" sz="1050" dirty="0"/>
              <a:t>leads to iterations on fact tables increasing the timelines</a:t>
            </a:r>
          </a:p>
        </p:txBody>
      </p:sp>
      <p:sp>
        <p:nvSpPr>
          <p:cNvPr id="132" name="TextBox 131"/>
          <p:cNvSpPr txBox="1"/>
          <p:nvPr/>
        </p:nvSpPr>
        <p:spPr>
          <a:xfrm>
            <a:off x="7037408" y="3611605"/>
            <a:ext cx="428501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050" dirty="0"/>
              <a:t>Tableau Access &amp; S3 connectivity – WIP ( Manual approach to connect S3 but session disconnect in 8 Hrs.)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050" dirty="0"/>
              <a:t>AWS complete data set access for </a:t>
            </a:r>
            <a:r>
              <a:rPr lang="en-US" sz="1050" dirty="0" err="1"/>
              <a:t>eClerx</a:t>
            </a:r>
            <a:r>
              <a:rPr lang="en-US" sz="1050" dirty="0"/>
              <a:t> Team – Pending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050" dirty="0"/>
              <a:t>Excel operation limitation in Cox environment – Delay in data validation</a:t>
            </a:r>
          </a:p>
        </p:txBody>
      </p:sp>
      <p:sp>
        <p:nvSpPr>
          <p:cNvPr id="135" name="Rectangle 134"/>
          <p:cNvSpPr/>
          <p:nvPr/>
        </p:nvSpPr>
        <p:spPr>
          <a:xfrm>
            <a:off x="0" y="5203486"/>
            <a:ext cx="1091745" cy="461665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sz="1200" b="1" dirty="0">
                <a:solidFill>
                  <a:schemeClr val="bg1"/>
                </a:solidFill>
              </a:rPr>
              <a:t>Project Risk </a:t>
            </a:r>
          </a:p>
          <a:p>
            <a:pPr lvl="0" algn="ctr">
              <a:defRPr/>
            </a:pPr>
            <a:r>
              <a:rPr lang="en-US" sz="1200" b="1" dirty="0">
                <a:solidFill>
                  <a:schemeClr val="bg1"/>
                </a:solidFill>
              </a:rPr>
              <a:t>&amp; Challenges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3E98878-807B-3BB4-B908-3BB6844C68C9}"/>
              </a:ext>
            </a:extLst>
          </p:cNvPr>
          <p:cNvSpPr/>
          <p:nvPr/>
        </p:nvSpPr>
        <p:spPr bwMode="auto">
          <a:xfrm>
            <a:off x="8494119" y="3343315"/>
            <a:ext cx="1281722" cy="201168"/>
          </a:xfrm>
          <a:prstGeom prst="rect">
            <a:avLst/>
          </a:prstGeom>
          <a:solidFill>
            <a:srgbClr val="FFC000"/>
          </a:solidFill>
          <a:ln>
            <a:solidFill>
              <a:srgbClr val="0D4368"/>
            </a:solidFill>
          </a:ln>
        </p:spPr>
        <p:txBody>
          <a:bodyPr vert="horz" wrap="square" lIns="42863" tIns="21431" rIns="42863" bIns="21431" numCol="1" rtlCol="0" anchor="ctr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US" sz="1050" b="1" dirty="0">
              <a:solidFill>
                <a:srgbClr val="00B050"/>
              </a:solidFill>
              <a:highlight>
                <a:srgbClr val="FFE181"/>
              </a:highlight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8C8C53C-351A-8846-BEE1-50736BD3C06B}"/>
              </a:ext>
            </a:extLst>
          </p:cNvPr>
          <p:cNvSpPr txBox="1"/>
          <p:nvPr/>
        </p:nvSpPr>
        <p:spPr>
          <a:xfrm>
            <a:off x="6910242" y="3305400"/>
            <a:ext cx="15838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Overall Project Statu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73663FB-53EA-9158-DFD0-827763CBFFF7}"/>
              </a:ext>
            </a:extLst>
          </p:cNvPr>
          <p:cNvSpPr txBox="1"/>
          <p:nvPr/>
        </p:nvSpPr>
        <p:spPr>
          <a:xfrm>
            <a:off x="3912980" y="4944015"/>
            <a:ext cx="2465989" cy="900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050" dirty="0"/>
              <a:t>Tableau Access &amp; S3 connectivity -  Manual approach to connect S3 but session disconnect in 8 Hrs. 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050" dirty="0"/>
              <a:t>Dependency on the fact tables  validation &amp; completion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42AACF5-1CDA-8281-A209-98294E8636C4}"/>
              </a:ext>
            </a:extLst>
          </p:cNvPr>
          <p:cNvSpPr/>
          <p:nvPr/>
        </p:nvSpPr>
        <p:spPr>
          <a:xfrm>
            <a:off x="6944475" y="3207509"/>
            <a:ext cx="4377943" cy="1377773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6943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1F8418-FC00-588A-B8ED-32E40361E5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riginal Project Pla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E00984D-D3AA-13FD-FC57-19FF607410F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080433-0019-7C2D-7F84-C5C9D367405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6298889"/>
              </p:ext>
            </p:extLst>
          </p:nvPr>
        </p:nvGraphicFramePr>
        <p:xfrm>
          <a:off x="493716" y="1197361"/>
          <a:ext cx="11204502" cy="4593838"/>
        </p:xfrm>
        <a:graphic>
          <a:graphicData uri="http://schemas.openxmlformats.org/drawingml/2006/table">
            <a:tbl>
              <a:tblPr/>
              <a:tblGrid>
                <a:gridCol w="481251">
                  <a:extLst>
                    <a:ext uri="{9D8B030D-6E8A-4147-A177-3AD203B41FA5}">
                      <a16:colId xmlns:a16="http://schemas.microsoft.com/office/drawing/2014/main" val="4108293276"/>
                    </a:ext>
                  </a:extLst>
                </a:gridCol>
                <a:gridCol w="2221160">
                  <a:extLst>
                    <a:ext uri="{9D8B030D-6E8A-4147-A177-3AD203B41FA5}">
                      <a16:colId xmlns:a16="http://schemas.microsoft.com/office/drawing/2014/main" val="4176684213"/>
                    </a:ext>
                  </a:extLst>
                </a:gridCol>
                <a:gridCol w="654007">
                  <a:extLst>
                    <a:ext uri="{9D8B030D-6E8A-4147-A177-3AD203B41FA5}">
                      <a16:colId xmlns:a16="http://schemas.microsoft.com/office/drawing/2014/main" val="1033185134"/>
                    </a:ext>
                  </a:extLst>
                </a:gridCol>
                <a:gridCol w="654007">
                  <a:extLst>
                    <a:ext uri="{9D8B030D-6E8A-4147-A177-3AD203B41FA5}">
                      <a16:colId xmlns:a16="http://schemas.microsoft.com/office/drawing/2014/main" val="3913583138"/>
                    </a:ext>
                  </a:extLst>
                </a:gridCol>
                <a:gridCol w="654007">
                  <a:extLst>
                    <a:ext uri="{9D8B030D-6E8A-4147-A177-3AD203B41FA5}">
                      <a16:colId xmlns:a16="http://schemas.microsoft.com/office/drawing/2014/main" val="3006227253"/>
                    </a:ext>
                  </a:extLst>
                </a:gridCol>
                <a:gridCol w="654007">
                  <a:extLst>
                    <a:ext uri="{9D8B030D-6E8A-4147-A177-3AD203B41FA5}">
                      <a16:colId xmlns:a16="http://schemas.microsoft.com/office/drawing/2014/main" val="4025531580"/>
                    </a:ext>
                  </a:extLst>
                </a:gridCol>
                <a:gridCol w="654007">
                  <a:extLst>
                    <a:ext uri="{9D8B030D-6E8A-4147-A177-3AD203B41FA5}">
                      <a16:colId xmlns:a16="http://schemas.microsoft.com/office/drawing/2014/main" val="1058536724"/>
                    </a:ext>
                  </a:extLst>
                </a:gridCol>
                <a:gridCol w="654007">
                  <a:extLst>
                    <a:ext uri="{9D8B030D-6E8A-4147-A177-3AD203B41FA5}">
                      <a16:colId xmlns:a16="http://schemas.microsoft.com/office/drawing/2014/main" val="3563137189"/>
                    </a:ext>
                  </a:extLst>
                </a:gridCol>
                <a:gridCol w="654007">
                  <a:extLst>
                    <a:ext uri="{9D8B030D-6E8A-4147-A177-3AD203B41FA5}">
                      <a16:colId xmlns:a16="http://schemas.microsoft.com/office/drawing/2014/main" val="3681440772"/>
                    </a:ext>
                  </a:extLst>
                </a:gridCol>
                <a:gridCol w="654007">
                  <a:extLst>
                    <a:ext uri="{9D8B030D-6E8A-4147-A177-3AD203B41FA5}">
                      <a16:colId xmlns:a16="http://schemas.microsoft.com/office/drawing/2014/main" val="3768447915"/>
                    </a:ext>
                  </a:extLst>
                </a:gridCol>
                <a:gridCol w="654007">
                  <a:extLst>
                    <a:ext uri="{9D8B030D-6E8A-4147-A177-3AD203B41FA5}">
                      <a16:colId xmlns:a16="http://schemas.microsoft.com/office/drawing/2014/main" val="3573427869"/>
                    </a:ext>
                  </a:extLst>
                </a:gridCol>
                <a:gridCol w="654007">
                  <a:extLst>
                    <a:ext uri="{9D8B030D-6E8A-4147-A177-3AD203B41FA5}">
                      <a16:colId xmlns:a16="http://schemas.microsoft.com/office/drawing/2014/main" val="781558562"/>
                    </a:ext>
                  </a:extLst>
                </a:gridCol>
                <a:gridCol w="654007">
                  <a:extLst>
                    <a:ext uri="{9D8B030D-6E8A-4147-A177-3AD203B41FA5}">
                      <a16:colId xmlns:a16="http://schemas.microsoft.com/office/drawing/2014/main" val="4241153102"/>
                    </a:ext>
                  </a:extLst>
                </a:gridCol>
                <a:gridCol w="654007">
                  <a:extLst>
                    <a:ext uri="{9D8B030D-6E8A-4147-A177-3AD203B41FA5}">
                      <a16:colId xmlns:a16="http://schemas.microsoft.com/office/drawing/2014/main" val="2248260595"/>
                    </a:ext>
                  </a:extLst>
                </a:gridCol>
                <a:gridCol w="654007">
                  <a:extLst>
                    <a:ext uri="{9D8B030D-6E8A-4147-A177-3AD203B41FA5}">
                      <a16:colId xmlns:a16="http://schemas.microsoft.com/office/drawing/2014/main" val="645137517"/>
                    </a:ext>
                  </a:extLst>
                </a:gridCol>
              </a:tblGrid>
              <a:tr h="256452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Activities</a:t>
                      </a:r>
                    </a:p>
                  </a:txBody>
                  <a:tcPr marL="7054" marR="7054" marT="705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12-Aug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19-Aug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26-Aug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2-Sep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9-Sep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16-Sep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23-Sep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30-Sep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7-Oct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14-Oct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21-Oct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28-Oct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4-Nov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7153568"/>
                  </a:ext>
                </a:extLst>
              </a:tr>
              <a:tr h="501755">
                <a:tc rowSpan="8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Engineering</a:t>
                      </a:r>
                    </a:p>
                  </a:txBody>
                  <a:tcPr marL="7054" marR="7054" marT="7054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Individual Accesses &amp; Azure AVD set up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0822895"/>
                  </a:ext>
                </a:extLst>
              </a:tr>
              <a:tr h="2564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Discovery &amp; Requirement Gathering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55603590"/>
                  </a:ext>
                </a:extLst>
              </a:tr>
              <a:tr h="50175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Accesses and Environment Setup (AWS)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87450501"/>
                  </a:ext>
                </a:extLst>
              </a:tr>
              <a:tr h="2564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Build Data Framework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1208016"/>
                  </a:ext>
                </a:extLst>
              </a:tr>
              <a:tr h="2564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Data Validation 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348124"/>
                  </a:ext>
                </a:extLst>
              </a:tr>
              <a:tr h="2564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Data Transformation Flow (ETL)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21134915"/>
                  </a:ext>
                </a:extLst>
              </a:tr>
              <a:tr h="2564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Scheduling and Automation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3205602"/>
                  </a:ext>
                </a:extLst>
              </a:tr>
              <a:tr h="2564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Monitoring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36237700"/>
                  </a:ext>
                </a:extLst>
              </a:tr>
              <a:tr h="256452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Visualization</a:t>
                      </a:r>
                    </a:p>
                  </a:txBody>
                  <a:tcPr marL="7054" marR="7054" marT="7054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Business Goals &amp; Data Sample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2668559"/>
                  </a:ext>
                </a:extLst>
              </a:tr>
              <a:tr h="2564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Design Templates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8923450"/>
                  </a:ext>
                </a:extLst>
              </a:tr>
              <a:tr h="2564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Stakeholder Review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8024596"/>
                  </a:ext>
                </a:extLst>
              </a:tr>
              <a:tr h="2564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Development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6754438"/>
                  </a:ext>
                </a:extLst>
              </a:tr>
              <a:tr h="2564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Validation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7537192"/>
                  </a:ext>
                </a:extLst>
              </a:tr>
              <a:tr h="2564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Stakeholder Review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5820346"/>
                  </a:ext>
                </a:extLst>
              </a:tr>
              <a:tr h="2564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Deployment &amp; Support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/>
                        </a:rPr>
                        <a:t> </a:t>
                      </a:r>
                    </a:p>
                  </a:txBody>
                  <a:tcPr marL="7054" marR="7054" marT="70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35397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15251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CD20BF-6937-C158-87D5-D8164B05D6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7043" y="226849"/>
            <a:ext cx="11204448" cy="533240"/>
          </a:xfrm>
        </p:spPr>
        <p:txBody>
          <a:bodyPr/>
          <a:lstStyle/>
          <a:p>
            <a:r>
              <a:rPr lang="en-US"/>
              <a:t>CIAM - Functions, Initiatives and Metrics Mapping (Original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214C498-091A-4E65-B4EA-2097B0A0A21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47ECDD9-19E3-3387-942B-D6B5A0ABCE9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1" name="Picture 10" descr="A screenshot of a computer&#10;&#10;Description automatically generated">
            <a:extLst>
              <a:ext uri="{FF2B5EF4-FFF2-40B4-BE49-F238E27FC236}">
                <a16:creationId xmlns:a16="http://schemas.microsoft.com/office/drawing/2014/main" id="{E34ABF21-CF21-7747-FE27-5A295126B2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1939" y="928810"/>
            <a:ext cx="10022389" cy="5077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7899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23B3D9-5974-6DF1-41E8-FE8BB3E28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167677"/>
            <a:ext cx="11204448" cy="814225"/>
          </a:xfrm>
        </p:spPr>
        <p:txBody>
          <a:bodyPr/>
          <a:lstStyle/>
          <a:p>
            <a:r>
              <a:rPr lang="en-US" dirty="0"/>
              <a:t>Summary of the CIAM BI Reporting  Metric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CF66A7C-FACA-CDF4-CE52-E253CDBB61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828501-58BA-692E-22E4-583AADE806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0C3AF2B-E45E-EB74-8DD1-507590A72316}"/>
              </a:ext>
            </a:extLst>
          </p:cNvPr>
          <p:cNvSpPr/>
          <p:nvPr/>
        </p:nvSpPr>
        <p:spPr>
          <a:xfrm>
            <a:off x="2604303" y="1215342"/>
            <a:ext cx="5474825" cy="63660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otal Metrics on Dashboard – </a:t>
            </a:r>
            <a:r>
              <a:rPr lang="en-US" sz="2000" b="1" dirty="0"/>
              <a:t>67 </a:t>
            </a:r>
          </a:p>
          <a:p>
            <a:pPr algn="ctr"/>
            <a:r>
              <a:rPr lang="en-US" dirty="0"/>
              <a:t>(14 Metrics WIP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4CC46B1-710A-21A8-CB29-FACF59A1AC52}"/>
              </a:ext>
            </a:extLst>
          </p:cNvPr>
          <p:cNvSpPr/>
          <p:nvPr/>
        </p:nvSpPr>
        <p:spPr>
          <a:xfrm>
            <a:off x="2604303" y="2048719"/>
            <a:ext cx="2002421" cy="636608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ofile Tab  </a:t>
            </a:r>
          </a:p>
          <a:p>
            <a:pPr algn="ctr"/>
            <a:r>
              <a:rPr lang="en-US" dirty="0"/>
              <a:t>Total Metris - </a:t>
            </a:r>
            <a:r>
              <a:rPr lang="en-US" sz="2000" b="1" dirty="0"/>
              <a:t>48</a:t>
            </a:r>
            <a:endParaRPr lang="en-US" b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944A52A-52FC-2520-0106-9FC697CF3E58}"/>
              </a:ext>
            </a:extLst>
          </p:cNvPr>
          <p:cNvSpPr/>
          <p:nvPr/>
        </p:nvSpPr>
        <p:spPr>
          <a:xfrm>
            <a:off x="5851161" y="2048718"/>
            <a:ext cx="2227967" cy="636608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ctivity Tab</a:t>
            </a:r>
          </a:p>
          <a:p>
            <a:pPr algn="ctr"/>
            <a:r>
              <a:rPr lang="en-US" dirty="0"/>
              <a:t>Total Metrics - </a:t>
            </a:r>
            <a:r>
              <a:rPr lang="en-US" sz="2000" b="1" dirty="0"/>
              <a:t>19</a:t>
            </a:r>
            <a:endParaRPr lang="en-US" b="1" dirty="0"/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65F23BF1-D533-125C-FA23-5B50E35AF197}"/>
              </a:ext>
            </a:extLst>
          </p:cNvPr>
          <p:cNvCxnSpPr>
            <a:cxnSpLocks/>
          </p:cNvCxnSpPr>
          <p:nvPr/>
        </p:nvCxnSpPr>
        <p:spPr>
          <a:xfrm>
            <a:off x="3518704" y="2766349"/>
            <a:ext cx="0" cy="37039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grpSp>
        <p:nvGrpSpPr>
          <p:cNvPr id="22" name="Group 21">
            <a:extLst>
              <a:ext uri="{FF2B5EF4-FFF2-40B4-BE49-F238E27FC236}">
                <a16:creationId xmlns:a16="http://schemas.microsoft.com/office/drawing/2014/main" id="{985458B2-D7B2-7253-6D5F-7B254E45D9FA}"/>
              </a:ext>
            </a:extLst>
          </p:cNvPr>
          <p:cNvGrpSpPr/>
          <p:nvPr/>
        </p:nvGrpSpPr>
        <p:grpSpPr>
          <a:xfrm>
            <a:off x="1225304" y="3217761"/>
            <a:ext cx="4417939" cy="1562582"/>
            <a:chOff x="489727" y="3194613"/>
            <a:chExt cx="4417939" cy="1562582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56FB1BBF-FADA-7B34-C305-5B3E5E80FF7A}"/>
                </a:ext>
              </a:extLst>
            </p:cNvPr>
            <p:cNvSpPr/>
            <p:nvPr/>
          </p:nvSpPr>
          <p:spPr>
            <a:xfrm>
              <a:off x="700268" y="3414543"/>
              <a:ext cx="1915613" cy="374904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ustomer - </a:t>
              </a:r>
              <a:r>
                <a:rPr lang="en-US" sz="2000" b="1" dirty="0"/>
                <a:t>17</a:t>
              </a:r>
              <a:endParaRPr lang="en-US" b="1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ED99887-D4A5-6A44-B0ED-4A70A7251F30}"/>
                </a:ext>
              </a:extLst>
            </p:cNvPr>
            <p:cNvSpPr/>
            <p:nvPr/>
          </p:nvSpPr>
          <p:spPr>
            <a:xfrm>
              <a:off x="700268" y="3977859"/>
              <a:ext cx="1915613" cy="370390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Profile -</a:t>
              </a:r>
              <a:r>
                <a:rPr lang="en-US" sz="2000" b="1" dirty="0"/>
                <a:t>11</a:t>
              </a:r>
              <a:endParaRPr lang="en-US" b="1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071CF98-909B-75A0-A951-E8656E672823}"/>
                </a:ext>
              </a:extLst>
            </p:cNvPr>
            <p:cNvSpPr/>
            <p:nvPr/>
          </p:nvSpPr>
          <p:spPr>
            <a:xfrm>
              <a:off x="2748986" y="3391385"/>
              <a:ext cx="1915613" cy="370390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ontact - </a:t>
              </a:r>
              <a:r>
                <a:rPr lang="en-US" sz="2000" b="1" dirty="0"/>
                <a:t>6</a:t>
              </a:r>
              <a:endParaRPr lang="en-US" b="1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ADF0A220-8516-2F83-596A-7C021C113854}"/>
                </a:ext>
              </a:extLst>
            </p:cNvPr>
            <p:cNvSpPr/>
            <p:nvPr/>
          </p:nvSpPr>
          <p:spPr>
            <a:xfrm>
              <a:off x="489727" y="3194613"/>
              <a:ext cx="4417939" cy="1562582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7734EEE-5B31-7848-E1A4-73C699E84989}"/>
                </a:ext>
              </a:extLst>
            </p:cNvPr>
            <p:cNvSpPr/>
            <p:nvPr/>
          </p:nvSpPr>
          <p:spPr>
            <a:xfrm>
              <a:off x="2748986" y="4022214"/>
              <a:ext cx="1915613" cy="370390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Activity - </a:t>
              </a:r>
              <a:r>
                <a:rPr lang="en-US" sz="2000" b="1" dirty="0"/>
                <a:t>14</a:t>
              </a:r>
              <a:endParaRPr lang="en-US" b="1" dirty="0"/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AC9F4C13-DABB-3D9D-92EE-2D8EF664AD28}"/>
              </a:ext>
            </a:extLst>
          </p:cNvPr>
          <p:cNvSpPr txBox="1"/>
          <p:nvPr/>
        </p:nvSpPr>
        <p:spPr>
          <a:xfrm>
            <a:off x="1106955" y="2882096"/>
            <a:ext cx="17078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400" b="1" dirty="0">
                <a:latin typeface="+mj-lt"/>
              </a:rPr>
              <a:t>Sections</a:t>
            </a:r>
          </a:p>
        </p:txBody>
      </p:sp>
    </p:spTree>
    <p:extLst>
      <p:ext uri="{BB962C8B-B14F-4D97-AF65-F5344CB8AC3E}">
        <p14:creationId xmlns:p14="http://schemas.microsoft.com/office/powerpoint/2010/main" val="1642407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23B3D9-5974-6DF1-41E8-FE8BB3E28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255" y="167678"/>
            <a:ext cx="11531969" cy="463610"/>
          </a:xfrm>
        </p:spPr>
        <p:txBody>
          <a:bodyPr/>
          <a:lstStyle/>
          <a:p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CIAM </a:t>
            </a:r>
            <a:r>
              <a:rPr lang="en-US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DASHBOARD STATUS 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WE </a:t>
            </a: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NOV 01</a:t>
            </a:r>
            <a:r>
              <a:rPr lang="en-US" sz="2800" baseline="30000" dirty="0" smtClean="0">
                <a:latin typeface="Arial" panose="020B0604020202020204" pitchFamily="34" charset="0"/>
                <a:cs typeface="Arial" panose="020B0604020202020204" pitchFamily="34" charset="0"/>
              </a:rPr>
              <a:t>ST</a:t>
            </a: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2024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CF66A7C-FACA-CDF4-CE52-E253CDBB61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828501-58BA-692E-22E4-583AADE806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Rectangle 114"/>
          <p:cNvSpPr/>
          <p:nvPr/>
        </p:nvSpPr>
        <p:spPr bwMode="auto">
          <a:xfrm>
            <a:off x="-2231" y="734594"/>
            <a:ext cx="7772400" cy="274320"/>
          </a:xfrm>
          <a:prstGeom prst="rect">
            <a:avLst/>
          </a:prstGeom>
          <a:gradFill>
            <a:gsLst>
              <a:gs pos="0">
                <a:srgbClr val="00D5FE"/>
              </a:gs>
              <a:gs pos="71000">
                <a:srgbClr val="0190CD"/>
              </a:gs>
            </a:gsLst>
            <a:lin ang="48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77"/>
            <a:r>
              <a:rPr lang="en-US" sz="11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ekly Key Headlines</a:t>
            </a:r>
          </a:p>
        </p:txBody>
      </p:sp>
      <p:sp>
        <p:nvSpPr>
          <p:cNvPr id="51" name="Rectangle 50"/>
          <p:cNvSpPr/>
          <p:nvPr/>
        </p:nvSpPr>
        <p:spPr bwMode="auto">
          <a:xfrm>
            <a:off x="5070756" y="2878695"/>
            <a:ext cx="7121237" cy="274320"/>
          </a:xfrm>
          <a:prstGeom prst="rect">
            <a:avLst/>
          </a:prstGeom>
          <a:gradFill>
            <a:gsLst>
              <a:gs pos="0">
                <a:srgbClr val="00D5FE"/>
              </a:gs>
              <a:gs pos="71000">
                <a:srgbClr val="0190CD"/>
              </a:gs>
            </a:gsLst>
            <a:lin ang="48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77"/>
            <a:r>
              <a:rPr lang="en-US" sz="11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coming Week Key Activities</a:t>
            </a:r>
          </a:p>
        </p:txBody>
      </p:sp>
      <p:sp>
        <p:nvSpPr>
          <p:cNvPr id="52" name="Rectangle 51"/>
          <p:cNvSpPr/>
          <p:nvPr/>
        </p:nvSpPr>
        <p:spPr bwMode="auto">
          <a:xfrm>
            <a:off x="16242" y="4421688"/>
            <a:ext cx="12161520" cy="241886"/>
          </a:xfrm>
          <a:prstGeom prst="rect">
            <a:avLst/>
          </a:prstGeom>
          <a:gradFill>
            <a:gsLst>
              <a:gs pos="0">
                <a:srgbClr val="00D5FE"/>
              </a:gs>
              <a:gs pos="71000">
                <a:srgbClr val="0190CD"/>
              </a:gs>
            </a:gsLst>
            <a:lin ang="48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77"/>
            <a:r>
              <a:rPr lang="en-US" sz="11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ks &amp; Issues</a:t>
            </a:r>
          </a:p>
        </p:txBody>
      </p:sp>
      <p:graphicFrame>
        <p:nvGraphicFramePr>
          <p:cNvPr id="13" name="Table 12"/>
          <p:cNvGraphicFramePr>
            <a:graphicFrameLocks noGrp="1"/>
          </p:cNvGraphicFramePr>
          <p:nvPr/>
        </p:nvGraphicFramePr>
        <p:xfrm>
          <a:off x="9910618" y="691838"/>
          <a:ext cx="2281382" cy="22860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140691">
                  <a:extLst>
                    <a:ext uri="{9D8B030D-6E8A-4147-A177-3AD203B41FA5}">
                      <a16:colId xmlns:a16="http://schemas.microsoft.com/office/drawing/2014/main" val="1579312854"/>
                    </a:ext>
                  </a:extLst>
                </a:gridCol>
                <a:gridCol w="1140691">
                  <a:extLst>
                    <a:ext uri="{9D8B030D-6E8A-4147-A177-3AD203B41FA5}">
                      <a16:colId xmlns:a16="http://schemas.microsoft.com/office/drawing/2014/main" val="2294863911"/>
                    </a:ext>
                  </a:extLst>
                </a:gridCol>
              </a:tblGrid>
              <a:tr h="214686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Project Phas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EXECU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50921"/>
                  </a:ext>
                </a:extLst>
              </a:tr>
            </a:tbl>
          </a:graphicData>
        </a:graphic>
      </p:graphicFrame>
      <p:graphicFrame>
        <p:nvGraphicFramePr>
          <p:cNvPr id="15" name="Table 14"/>
          <p:cNvGraphicFramePr>
            <a:graphicFrameLocks noGrp="1"/>
          </p:cNvGraphicFramePr>
          <p:nvPr/>
        </p:nvGraphicFramePr>
        <p:xfrm>
          <a:off x="9910618" y="-6"/>
          <a:ext cx="2281383" cy="685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00727">
                  <a:extLst>
                    <a:ext uri="{9D8B030D-6E8A-4147-A177-3AD203B41FA5}">
                      <a16:colId xmlns:a16="http://schemas.microsoft.com/office/drawing/2014/main" val="2257054818"/>
                    </a:ext>
                  </a:extLst>
                </a:gridCol>
                <a:gridCol w="600364">
                  <a:extLst>
                    <a:ext uri="{9D8B030D-6E8A-4147-A177-3AD203B41FA5}">
                      <a16:colId xmlns:a16="http://schemas.microsoft.com/office/drawing/2014/main" val="381541583"/>
                    </a:ext>
                  </a:extLst>
                </a:gridCol>
                <a:gridCol w="480292">
                  <a:extLst>
                    <a:ext uri="{9D8B030D-6E8A-4147-A177-3AD203B41FA5}">
                      <a16:colId xmlns:a16="http://schemas.microsoft.com/office/drawing/2014/main" val="521123419"/>
                    </a:ext>
                  </a:extLst>
                </a:gridCol>
              </a:tblGrid>
              <a:tr h="138546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Schedule</a:t>
                      </a:r>
                      <a:r>
                        <a:rPr lang="en-US" baseline="0" dirty="0">
                          <a:solidFill>
                            <a:schemeClr val="tx1"/>
                          </a:solidFill>
                        </a:rPr>
                        <a:t> Health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Lagging</a:t>
                      </a: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778357"/>
                  </a:ext>
                </a:extLst>
              </a:tr>
              <a:tr h="138546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Budget</a:t>
                      </a:r>
                      <a:r>
                        <a:rPr lang="en-US" baseline="0" dirty="0">
                          <a:solidFill>
                            <a:schemeClr val="tx1"/>
                          </a:solidFill>
                        </a:rPr>
                        <a:t> Health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On Track</a:t>
                      </a: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5162980"/>
                  </a:ext>
                </a:extLst>
              </a:tr>
              <a:tr h="138546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Scope Health</a:t>
                      </a: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Defined</a:t>
                      </a: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4470563"/>
                  </a:ext>
                </a:extLst>
              </a:tr>
            </a:tbl>
          </a:graphicData>
        </a:graphic>
      </p:graphicFrame>
      <p:sp>
        <p:nvSpPr>
          <p:cNvPr id="16" name="Flowchart: Connector 15"/>
          <p:cNvSpPr/>
          <p:nvPr/>
        </p:nvSpPr>
        <p:spPr>
          <a:xfrm>
            <a:off x="11880273" y="46175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Flowchart: Connector 56"/>
          <p:cNvSpPr/>
          <p:nvPr/>
        </p:nvSpPr>
        <p:spPr>
          <a:xfrm>
            <a:off x="11880273" y="279385"/>
            <a:ext cx="137160" cy="137160"/>
          </a:xfrm>
          <a:prstGeom prst="flowChartConnector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Flowchart: Connector 57"/>
          <p:cNvSpPr/>
          <p:nvPr/>
        </p:nvSpPr>
        <p:spPr>
          <a:xfrm>
            <a:off x="11880273" y="503359"/>
            <a:ext cx="137160" cy="137160"/>
          </a:xfrm>
          <a:prstGeom prst="flowChartConnector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3195925"/>
              </p:ext>
            </p:extLst>
          </p:nvPr>
        </p:nvGraphicFramePr>
        <p:xfrm>
          <a:off x="5070756" y="3166650"/>
          <a:ext cx="7121236" cy="12215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88515">
                  <a:extLst>
                    <a:ext uri="{9D8B030D-6E8A-4147-A177-3AD203B41FA5}">
                      <a16:colId xmlns:a16="http://schemas.microsoft.com/office/drawing/2014/main" val="789816936"/>
                    </a:ext>
                  </a:extLst>
                </a:gridCol>
                <a:gridCol w="692727">
                  <a:extLst>
                    <a:ext uri="{9D8B030D-6E8A-4147-A177-3AD203B41FA5}">
                      <a16:colId xmlns:a16="http://schemas.microsoft.com/office/drawing/2014/main" val="3347525149"/>
                    </a:ext>
                  </a:extLst>
                </a:gridCol>
                <a:gridCol w="1080649">
                  <a:extLst>
                    <a:ext uri="{9D8B030D-6E8A-4147-A177-3AD203B41FA5}">
                      <a16:colId xmlns:a16="http://schemas.microsoft.com/office/drawing/2014/main" val="3252717785"/>
                    </a:ext>
                  </a:extLst>
                </a:gridCol>
                <a:gridCol w="1459345">
                  <a:extLst>
                    <a:ext uri="{9D8B030D-6E8A-4147-A177-3AD203B41FA5}">
                      <a16:colId xmlns:a16="http://schemas.microsoft.com/office/drawing/2014/main" val="1224448240"/>
                    </a:ext>
                  </a:extLst>
                </a:gridCol>
              </a:tblGrid>
              <a:tr h="250804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Key Activitie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Statu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Owner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Target 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Date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0490211"/>
                  </a:ext>
                </a:extLst>
              </a:tr>
              <a:tr h="481249"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lidation of </a:t>
                      </a:r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 metrics</a:t>
                      </a:r>
                      <a:r>
                        <a:rPr lang="en-US" sz="10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r </a:t>
                      </a:r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</a:t>
                      </a:r>
                      <a:r>
                        <a:rPr lang="en-US" sz="105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lete data</a:t>
                      </a:r>
                      <a:r>
                        <a:rPr lang="en-US" sz="105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 available now and creation of calculated field views</a:t>
                      </a: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 Tea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r>
                        <a:rPr lang="en-US" sz="105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ovember 2024</a:t>
                      </a: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2914759"/>
                  </a:ext>
                </a:extLst>
              </a:tr>
              <a:tr h="481249"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pping &amp; </a:t>
                      </a:r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</a:t>
                      </a:r>
                      <a:r>
                        <a:rPr lang="en-US" sz="10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Validation</a:t>
                      </a:r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f KPIs/Metrics on Tableau Dashboard, Finishing</a:t>
                      </a:r>
                      <a:r>
                        <a:rPr lang="en-US" sz="105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he Dashboards Design</a:t>
                      </a: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 Team 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</a:t>
                      </a:r>
                      <a:r>
                        <a:rPr lang="en-US" sz="105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ember 202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05720"/>
                  </a:ext>
                </a:extLst>
              </a:tr>
            </a:tbl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0" y="1006769"/>
            <a:ext cx="7770169" cy="1869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Data team has received the access for the complete data and in the process of data and aggregated metrics validation </a:t>
            </a:r>
            <a:r>
              <a:rPr lang="en-US" sz="1050" i="1" dirty="0">
                <a:latin typeface="Arial" panose="020B0604020202020204" pitchFamily="34" charset="0"/>
                <a:cs typeface="Arial" panose="020B0604020202020204" pitchFamily="34" charset="0"/>
              </a:rPr>
              <a:t>(Target 08th November 2024)</a:t>
            </a:r>
          </a:p>
          <a:p>
            <a:pPr marL="800089" lvl="1" indent="-342900">
              <a:buFont typeface="Wingdings" panose="05000000000000000000" pitchFamily="2" charset="2"/>
              <a:buChar char="§"/>
            </a:pP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Original the target date for data validation was 30</a:t>
            </a:r>
            <a:r>
              <a:rPr lang="en-US" sz="1050" baseline="30000" dirty="0" smtClean="0"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October </a:t>
            </a: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2024 but currently team is facing delays due to</a:t>
            </a:r>
          </a:p>
          <a:p>
            <a:pPr marL="1257277" lvl="2" indent="-342900">
              <a:buFont typeface="Courier New" panose="02070309020205020404" pitchFamily="49" charset="0"/>
              <a:buChar char="o"/>
            </a:pP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Aggregation queries failing in Athena due to high volumes of data </a:t>
            </a:r>
          </a:p>
          <a:p>
            <a:pPr marL="1257277" lvl="2" indent="-342900">
              <a:buFont typeface="Courier New" panose="02070309020205020404" pitchFamily="49" charset="0"/>
              <a:buChar char="o"/>
            </a:pPr>
            <a:r>
              <a:rPr lang="en-US" sz="1050" smtClean="0">
                <a:latin typeface="Arial" panose="020B0604020202020204" pitchFamily="34" charset="0"/>
                <a:cs typeface="Arial" panose="020B0604020202020204" pitchFamily="34" charset="0"/>
              </a:rPr>
              <a:t>Mobile app data </a:t>
            </a: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tables are missing and Cox team is helping us get access to the same</a:t>
            </a:r>
            <a:endParaRPr lang="en-US" sz="10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BI Team </a:t>
            </a: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is continuing </a:t>
            </a: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with enhancing the </a:t>
            </a: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Tableau 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dashboards </a:t>
            </a: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basis the 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actual data 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tables </a:t>
            </a:r>
            <a:endParaRPr lang="en-US" sz="105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050" i="1" dirty="0" smtClean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1050" i="1" dirty="0">
                <a:latin typeface="Arial" panose="020B0604020202020204" pitchFamily="34" charset="0"/>
                <a:cs typeface="Arial" panose="020B0604020202020204" pitchFamily="34" charset="0"/>
              </a:rPr>
              <a:t>Target 08th November 2024)</a:t>
            </a:r>
            <a:endParaRPr lang="en-US" sz="1050" i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0089" lvl="1" indent="-342900">
              <a:buFont typeface="Wingdings" panose="05000000000000000000" pitchFamily="2" charset="2"/>
              <a:buChar char="§"/>
            </a:pP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Challenge is that the calculated fields and custom queries slowing down the dashboard refresh time</a:t>
            </a:r>
          </a:p>
          <a:p>
            <a:pPr marL="1257277" lvl="2" indent="-342900">
              <a:buFont typeface="Courier New" panose="02070309020205020404" pitchFamily="49" charset="0"/>
              <a:buChar char="o"/>
            </a:pP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Team is working with the option to create calculated fields view at source level only to reduce refresh time</a:t>
            </a:r>
          </a:p>
          <a:p>
            <a:pPr marL="1257277" lvl="2" indent="-342900">
              <a:buFont typeface="Courier New" panose="02070309020205020404" pitchFamily="49" charset="0"/>
              <a:buChar char="o"/>
            </a:pP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Refining visuals iteratively 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basis the business feedback and </a:t>
            </a: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new data availability</a:t>
            </a:r>
            <a:endParaRPr lang="en-US" sz="10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Data 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validation with the Praveen for all the identified </a:t>
            </a: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metrics/additional 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KPIs to be included as part of the model (Ongoing)</a:t>
            </a:r>
          </a:p>
        </p:txBody>
      </p:sp>
      <p:sp>
        <p:nvSpPr>
          <p:cNvPr id="61" name="Flowchart: Connector 60"/>
          <p:cNvSpPr/>
          <p:nvPr/>
        </p:nvSpPr>
        <p:spPr>
          <a:xfrm>
            <a:off x="9210273" y="3580520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Flowchart: Connector 64"/>
          <p:cNvSpPr/>
          <p:nvPr/>
        </p:nvSpPr>
        <p:spPr>
          <a:xfrm>
            <a:off x="9210273" y="4064745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Flowchart: Connector 65"/>
          <p:cNvSpPr/>
          <p:nvPr/>
        </p:nvSpPr>
        <p:spPr>
          <a:xfrm>
            <a:off x="9394764" y="1027419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Flowchart: Connector 66"/>
          <p:cNvSpPr/>
          <p:nvPr/>
        </p:nvSpPr>
        <p:spPr>
          <a:xfrm>
            <a:off x="10789453" y="1020134"/>
            <a:ext cx="137160" cy="137160"/>
          </a:xfrm>
          <a:prstGeom prst="flowChartConnector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9" name="Tab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9206499"/>
              </p:ext>
            </p:extLst>
          </p:nvPr>
        </p:nvGraphicFramePr>
        <p:xfrm>
          <a:off x="8062271" y="1265707"/>
          <a:ext cx="4119418" cy="1496426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4119418">
                  <a:extLst>
                    <a:ext uri="{9D8B030D-6E8A-4147-A177-3AD203B41FA5}">
                      <a16:colId xmlns:a16="http://schemas.microsoft.com/office/drawing/2014/main" val="644725935"/>
                    </a:ext>
                  </a:extLst>
                </a:gridCol>
              </a:tblGrid>
              <a:tr h="278995"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ram Objective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6914404"/>
                  </a:ext>
                </a:extLst>
              </a:tr>
              <a:tr h="1217431">
                <a:tc>
                  <a:txBody>
                    <a:bodyPr/>
                    <a:lstStyle/>
                    <a:p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IAM</a:t>
                      </a:r>
                      <a:r>
                        <a:rPr lang="en-US" sz="11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ashboard: 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vide 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pport on building an integrated data staging layer &amp; Tableau dashboards with integration to AWS S3 with Snowflake &amp; Adobe as the source of the data to drive and integrated data layer for better BI &amp; Insights, Auto extraction of information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d design ETL procedures to create Customer and Customer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ctivity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level views in Tableau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7513304"/>
                  </a:ext>
                </a:extLst>
              </a:tr>
            </a:tbl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9534377" y="972628"/>
            <a:ext cx="11637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Lagging as Per Plan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11017907" y="947841"/>
            <a:ext cx="11637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On Track as Per Plan</a:t>
            </a:r>
          </a:p>
        </p:txBody>
      </p:sp>
      <p:graphicFrame>
        <p:nvGraphicFramePr>
          <p:cNvPr id="21" name="Table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9877802"/>
              </p:ext>
            </p:extLst>
          </p:nvPr>
        </p:nvGraphicFramePr>
        <p:xfrm>
          <a:off x="13853" y="4719196"/>
          <a:ext cx="12163910" cy="14941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43529">
                  <a:extLst>
                    <a:ext uri="{9D8B030D-6E8A-4147-A177-3AD203B41FA5}">
                      <a16:colId xmlns:a16="http://schemas.microsoft.com/office/drawing/2014/main" val="3485745838"/>
                    </a:ext>
                  </a:extLst>
                </a:gridCol>
                <a:gridCol w="1126836">
                  <a:extLst>
                    <a:ext uri="{9D8B030D-6E8A-4147-A177-3AD203B41FA5}">
                      <a16:colId xmlns:a16="http://schemas.microsoft.com/office/drawing/2014/main" val="1933349237"/>
                    </a:ext>
                  </a:extLst>
                </a:gridCol>
                <a:gridCol w="4276437">
                  <a:extLst>
                    <a:ext uri="{9D8B030D-6E8A-4147-A177-3AD203B41FA5}">
                      <a16:colId xmlns:a16="http://schemas.microsoft.com/office/drawing/2014/main" val="873321475"/>
                    </a:ext>
                  </a:extLst>
                </a:gridCol>
                <a:gridCol w="1366981">
                  <a:extLst>
                    <a:ext uri="{9D8B030D-6E8A-4147-A177-3AD203B41FA5}">
                      <a16:colId xmlns:a16="http://schemas.microsoft.com/office/drawing/2014/main" val="73775240"/>
                    </a:ext>
                  </a:extLst>
                </a:gridCol>
                <a:gridCol w="4650127">
                  <a:extLst>
                    <a:ext uri="{9D8B030D-6E8A-4147-A177-3AD203B41FA5}">
                      <a16:colId xmlns:a16="http://schemas.microsoft.com/office/drawing/2014/main" val="2160433153"/>
                    </a:ext>
                  </a:extLst>
                </a:gridCol>
              </a:tblGrid>
              <a:tr h="305386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/I</a:t>
                      </a:r>
                    </a:p>
                  </a:txBody>
                  <a:tcPr anchor="ctr"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VERITY</a:t>
                      </a:r>
                    </a:p>
                  </a:txBody>
                  <a:tcPr anchor="ctr"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RIPTION</a:t>
                      </a:r>
                    </a:p>
                  </a:txBody>
                  <a:tcPr anchor="ctr"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LANNED DATE</a:t>
                      </a:r>
                    </a:p>
                  </a:txBody>
                  <a:tcPr anchor="ctr"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TIGATION/UPDATES</a:t>
                      </a:r>
                    </a:p>
                  </a:txBody>
                  <a:tcPr anchor="ctr"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78391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457189" rtl="0" eaLnBrk="1" latinLnBrk="0" hangingPunct="1"/>
                      <a:r>
                        <a:rPr lang="en-US" sz="10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TL Glue Jobs Configuration,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sting </a:t>
                      </a: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amp; Deployment environment for enabling the continuous data </a:t>
                      </a: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gestion and integration  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9/23/202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am is testing out the AWS glue crawlers and job scheduling basis the current access to identify/mitigate any challenges early  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46347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457189" rtl="0" eaLnBrk="1" latinLnBrk="0" hangingPunct="1"/>
                      <a:r>
                        <a:rPr lang="en-US" sz="10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</a:t>
                      </a:r>
                      <a:r>
                        <a:rPr lang="en-US" sz="10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quality and validation of the complete data set, any data issues may delay the timelines as the access 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as delayed and in progress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9/23/202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am is iteratively validating the new data and data refresh to ensure the data integrity and values are in line with business understanding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06330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457189" rtl="0" eaLnBrk="1" latinLnBrk="0" hangingPunct="1"/>
                      <a:r>
                        <a:rPr lang="en-US" sz="10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ngoing</a:t>
                      </a:r>
                      <a:r>
                        <a:rPr lang="en-US" sz="10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ata validation and alignment to the business logic/metrics leading to iterative development/changes of the BI dashboard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/07/202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llaborating with Praveen/Cox Teams to get the business</a:t>
                      </a:r>
                      <a:r>
                        <a:rPr lang="en-US" sz="10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puts and vision for continuous improvements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9428420"/>
                  </a:ext>
                </a:extLst>
              </a:tr>
            </a:tbl>
          </a:graphicData>
        </a:graphic>
      </p:graphicFrame>
      <p:sp>
        <p:nvSpPr>
          <p:cNvPr id="5" name="Flowchart: Connector 4">
            <a:extLst>
              <a:ext uri="{FF2B5EF4-FFF2-40B4-BE49-F238E27FC236}">
                <a16:creationId xmlns:a16="http://schemas.microsoft.com/office/drawing/2014/main" id="{6BEE68F1-BCB3-CB2B-A7FC-CB9CA9606B95}"/>
              </a:ext>
            </a:extLst>
          </p:cNvPr>
          <p:cNvSpPr/>
          <p:nvPr/>
        </p:nvSpPr>
        <p:spPr>
          <a:xfrm>
            <a:off x="7285715" y="5137885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Flowchart: Connector 5">
            <a:extLst>
              <a:ext uri="{FF2B5EF4-FFF2-40B4-BE49-F238E27FC236}">
                <a16:creationId xmlns:a16="http://schemas.microsoft.com/office/drawing/2014/main" id="{95A7C292-1C66-DA31-D677-B46B6C5FC639}"/>
              </a:ext>
            </a:extLst>
          </p:cNvPr>
          <p:cNvSpPr/>
          <p:nvPr/>
        </p:nvSpPr>
        <p:spPr>
          <a:xfrm>
            <a:off x="7285715" y="5555918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lowchart: Connector 6">
            <a:extLst>
              <a:ext uri="{FF2B5EF4-FFF2-40B4-BE49-F238E27FC236}">
                <a16:creationId xmlns:a16="http://schemas.microsoft.com/office/drawing/2014/main" id="{B071765B-C6D6-92A3-221A-9875D56950B8}"/>
              </a:ext>
            </a:extLst>
          </p:cNvPr>
          <p:cNvSpPr/>
          <p:nvPr/>
        </p:nvSpPr>
        <p:spPr>
          <a:xfrm>
            <a:off x="7285715" y="5941465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4007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23B3D9-5974-6DF1-41E8-FE8BB3E28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255" y="167678"/>
            <a:ext cx="11531969" cy="463610"/>
          </a:xfrm>
        </p:spPr>
        <p:txBody>
          <a:bodyPr/>
          <a:lstStyle/>
          <a:p>
            <a:r>
              <a:rPr lang="en-US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CB &amp; HEALTH SCORE STATUS 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WE </a:t>
            </a: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NOV 01</a:t>
            </a:r>
            <a:r>
              <a:rPr lang="en-US" sz="2800" baseline="30000" dirty="0" smtClean="0">
                <a:latin typeface="Arial" panose="020B0604020202020204" pitchFamily="34" charset="0"/>
                <a:cs typeface="Arial" panose="020B0604020202020204" pitchFamily="34" charset="0"/>
              </a:rPr>
              <a:t>ST</a:t>
            </a: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2024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CF66A7C-FACA-CDF4-CE52-E253CDBB61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828501-58BA-692E-22E4-583AADE806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Rectangle 114"/>
          <p:cNvSpPr/>
          <p:nvPr/>
        </p:nvSpPr>
        <p:spPr bwMode="auto">
          <a:xfrm>
            <a:off x="-2231" y="836194"/>
            <a:ext cx="7772401" cy="272136"/>
          </a:xfrm>
          <a:prstGeom prst="rect">
            <a:avLst/>
          </a:prstGeom>
          <a:gradFill>
            <a:gsLst>
              <a:gs pos="0">
                <a:srgbClr val="00D5FE"/>
              </a:gs>
              <a:gs pos="71000">
                <a:srgbClr val="0190CD"/>
              </a:gs>
            </a:gsLst>
            <a:lin ang="48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77"/>
            <a:r>
              <a:rPr lang="en-US" sz="11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ekly Key Headlines</a:t>
            </a:r>
          </a:p>
        </p:txBody>
      </p:sp>
      <p:sp>
        <p:nvSpPr>
          <p:cNvPr id="51" name="Rectangle 50"/>
          <p:cNvSpPr/>
          <p:nvPr/>
        </p:nvSpPr>
        <p:spPr bwMode="auto">
          <a:xfrm>
            <a:off x="5058975" y="3035629"/>
            <a:ext cx="7121237" cy="274320"/>
          </a:xfrm>
          <a:prstGeom prst="rect">
            <a:avLst/>
          </a:prstGeom>
          <a:gradFill>
            <a:gsLst>
              <a:gs pos="0">
                <a:srgbClr val="00D5FE"/>
              </a:gs>
              <a:gs pos="71000">
                <a:srgbClr val="0190CD"/>
              </a:gs>
            </a:gsLst>
            <a:lin ang="48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77"/>
            <a:r>
              <a:rPr lang="en-US" sz="11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coming Week Key Activities</a:t>
            </a:r>
          </a:p>
        </p:txBody>
      </p:sp>
      <p:sp>
        <p:nvSpPr>
          <p:cNvPr id="52" name="Rectangle 51"/>
          <p:cNvSpPr/>
          <p:nvPr/>
        </p:nvSpPr>
        <p:spPr bwMode="auto">
          <a:xfrm>
            <a:off x="21244" y="4781897"/>
            <a:ext cx="12161520" cy="274320"/>
          </a:xfrm>
          <a:prstGeom prst="rect">
            <a:avLst/>
          </a:prstGeom>
          <a:gradFill>
            <a:gsLst>
              <a:gs pos="0">
                <a:srgbClr val="00D5FE"/>
              </a:gs>
              <a:gs pos="71000">
                <a:srgbClr val="0190CD"/>
              </a:gs>
            </a:gsLst>
            <a:lin ang="48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77"/>
            <a:r>
              <a:rPr lang="en-US" sz="11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ks &amp; Issues</a:t>
            </a:r>
          </a:p>
        </p:txBody>
      </p:sp>
      <p:graphicFrame>
        <p:nvGraphicFramePr>
          <p:cNvPr id="13" name="Table 12"/>
          <p:cNvGraphicFramePr>
            <a:graphicFrameLocks noGrp="1"/>
          </p:cNvGraphicFramePr>
          <p:nvPr/>
        </p:nvGraphicFramePr>
        <p:xfrm>
          <a:off x="9910618" y="691838"/>
          <a:ext cx="2281382" cy="22860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140691">
                  <a:extLst>
                    <a:ext uri="{9D8B030D-6E8A-4147-A177-3AD203B41FA5}">
                      <a16:colId xmlns:a16="http://schemas.microsoft.com/office/drawing/2014/main" val="1579312854"/>
                    </a:ext>
                  </a:extLst>
                </a:gridCol>
                <a:gridCol w="1140691">
                  <a:extLst>
                    <a:ext uri="{9D8B030D-6E8A-4147-A177-3AD203B41FA5}">
                      <a16:colId xmlns:a16="http://schemas.microsoft.com/office/drawing/2014/main" val="2294863911"/>
                    </a:ext>
                  </a:extLst>
                </a:gridCol>
              </a:tblGrid>
              <a:tr h="214686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Project Phas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EXECU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50921"/>
                  </a:ext>
                </a:extLst>
              </a:tr>
            </a:tbl>
          </a:graphicData>
        </a:graphic>
      </p:graphicFrame>
      <p:graphicFrame>
        <p:nvGraphicFramePr>
          <p:cNvPr id="15" name="Table 14"/>
          <p:cNvGraphicFramePr>
            <a:graphicFrameLocks noGrp="1"/>
          </p:cNvGraphicFramePr>
          <p:nvPr/>
        </p:nvGraphicFramePr>
        <p:xfrm>
          <a:off x="9910618" y="-6"/>
          <a:ext cx="2281383" cy="685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00727">
                  <a:extLst>
                    <a:ext uri="{9D8B030D-6E8A-4147-A177-3AD203B41FA5}">
                      <a16:colId xmlns:a16="http://schemas.microsoft.com/office/drawing/2014/main" val="2257054818"/>
                    </a:ext>
                  </a:extLst>
                </a:gridCol>
                <a:gridCol w="600364">
                  <a:extLst>
                    <a:ext uri="{9D8B030D-6E8A-4147-A177-3AD203B41FA5}">
                      <a16:colId xmlns:a16="http://schemas.microsoft.com/office/drawing/2014/main" val="381541583"/>
                    </a:ext>
                  </a:extLst>
                </a:gridCol>
                <a:gridCol w="480292">
                  <a:extLst>
                    <a:ext uri="{9D8B030D-6E8A-4147-A177-3AD203B41FA5}">
                      <a16:colId xmlns:a16="http://schemas.microsoft.com/office/drawing/2014/main" val="521123419"/>
                    </a:ext>
                  </a:extLst>
                </a:gridCol>
              </a:tblGrid>
              <a:tr h="138546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Schedule</a:t>
                      </a:r>
                      <a:r>
                        <a:rPr lang="en-US" baseline="0" dirty="0">
                          <a:solidFill>
                            <a:schemeClr val="tx1"/>
                          </a:solidFill>
                        </a:rPr>
                        <a:t> Health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Lagging</a:t>
                      </a: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778357"/>
                  </a:ext>
                </a:extLst>
              </a:tr>
              <a:tr h="138546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Budget</a:t>
                      </a:r>
                      <a:r>
                        <a:rPr lang="en-US" baseline="0" dirty="0">
                          <a:solidFill>
                            <a:schemeClr val="tx1"/>
                          </a:solidFill>
                        </a:rPr>
                        <a:t> Health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On Track</a:t>
                      </a: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5162980"/>
                  </a:ext>
                </a:extLst>
              </a:tr>
              <a:tr h="138546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Scope Health</a:t>
                      </a: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Defined</a:t>
                      </a: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4470563"/>
                  </a:ext>
                </a:extLst>
              </a:tr>
            </a:tbl>
          </a:graphicData>
        </a:graphic>
      </p:graphicFrame>
      <p:sp>
        <p:nvSpPr>
          <p:cNvPr id="16" name="Flowchart: Connector 15"/>
          <p:cNvSpPr/>
          <p:nvPr/>
        </p:nvSpPr>
        <p:spPr>
          <a:xfrm>
            <a:off x="11880273" y="46175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Flowchart: Connector 56"/>
          <p:cNvSpPr/>
          <p:nvPr/>
        </p:nvSpPr>
        <p:spPr>
          <a:xfrm>
            <a:off x="11880273" y="270149"/>
            <a:ext cx="137160" cy="137160"/>
          </a:xfrm>
          <a:prstGeom prst="flowChartConnector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Flowchart: Connector 57"/>
          <p:cNvSpPr/>
          <p:nvPr/>
        </p:nvSpPr>
        <p:spPr>
          <a:xfrm>
            <a:off x="11880273" y="494123"/>
            <a:ext cx="137160" cy="137160"/>
          </a:xfrm>
          <a:prstGeom prst="flowChartConnector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0502724"/>
              </p:ext>
            </p:extLst>
          </p:nvPr>
        </p:nvGraphicFramePr>
        <p:xfrm>
          <a:off x="5058974" y="3318651"/>
          <a:ext cx="7121237" cy="13641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80874">
                  <a:extLst>
                    <a:ext uri="{9D8B030D-6E8A-4147-A177-3AD203B41FA5}">
                      <a16:colId xmlns:a16="http://schemas.microsoft.com/office/drawing/2014/main" val="789816936"/>
                    </a:ext>
                  </a:extLst>
                </a:gridCol>
                <a:gridCol w="628073">
                  <a:extLst>
                    <a:ext uri="{9D8B030D-6E8A-4147-A177-3AD203B41FA5}">
                      <a16:colId xmlns:a16="http://schemas.microsoft.com/office/drawing/2014/main" val="3347525149"/>
                    </a:ext>
                  </a:extLst>
                </a:gridCol>
                <a:gridCol w="951346">
                  <a:extLst>
                    <a:ext uri="{9D8B030D-6E8A-4147-A177-3AD203B41FA5}">
                      <a16:colId xmlns:a16="http://schemas.microsoft.com/office/drawing/2014/main" val="3252717785"/>
                    </a:ext>
                  </a:extLst>
                </a:gridCol>
                <a:gridCol w="1560944">
                  <a:extLst>
                    <a:ext uri="{9D8B030D-6E8A-4147-A177-3AD203B41FA5}">
                      <a16:colId xmlns:a16="http://schemas.microsoft.com/office/drawing/2014/main" val="1224448240"/>
                    </a:ext>
                  </a:extLst>
                </a:gridCol>
              </a:tblGrid>
              <a:tr h="192994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Key Activitie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Statu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Owner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Target 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Date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0490211"/>
                  </a:ext>
                </a:extLst>
              </a:tr>
              <a:tr h="207085">
                <a:tc>
                  <a:txBody>
                    <a:bodyPr/>
                    <a:lstStyle/>
                    <a:p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pulating</a:t>
                      </a:r>
                      <a:r>
                        <a:rPr lang="en-US" sz="10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 validation of the </a:t>
                      </a:r>
                      <a:r>
                        <a:rPr lang="en-US" sz="10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b metrics into the sub metric </a:t>
                      </a:r>
                      <a:r>
                        <a:rPr lang="en-US" sz="10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lumn and calculated columns for 7 days/30 day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 </a:t>
                      </a:r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am</a:t>
                      </a:r>
                      <a:endParaRPr lang="en-US" sz="105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r>
                        <a:rPr lang="en-US" sz="105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ovember 2024</a:t>
                      </a: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5060635"/>
                  </a:ext>
                </a:extLst>
              </a:tr>
              <a:tr h="282092"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xplore the OMNI Db table and add a new metric and validate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 Team</a:t>
                      </a: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r>
                        <a:rPr lang="en-US" sz="105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ember 202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6300547"/>
                  </a:ext>
                </a:extLst>
              </a:tr>
              <a:tr h="282092"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pping &amp; Values</a:t>
                      </a:r>
                      <a:r>
                        <a:rPr lang="en-US" sz="105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Validation</a:t>
                      </a:r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f KPIs/Metrics on Tableau Dashboard, Finishing</a:t>
                      </a:r>
                      <a:r>
                        <a:rPr lang="en-US" sz="105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he Dashboards Design</a:t>
                      </a: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 Team 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</a:t>
                      </a:r>
                      <a:r>
                        <a:rPr lang="en-US" sz="105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ovember 2024</a:t>
                      </a: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2883678"/>
                  </a:ext>
                </a:extLst>
              </a:tr>
            </a:tbl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-2231" y="1120922"/>
            <a:ext cx="7659175" cy="170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Data Team has created the ETL Glue </a:t>
            </a: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jobs to automate the data </a:t>
            </a: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transformation basis the requirement </a:t>
            </a: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 Tableau dashboard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to reduce the load on visualization layer and make it more robust to changes </a:t>
            </a:r>
            <a:r>
              <a:rPr lang="en-US" sz="1050" i="1" dirty="0">
                <a:latin typeface="Arial" panose="020B0604020202020204" pitchFamily="34" charset="0"/>
                <a:cs typeface="Arial" panose="020B0604020202020204" pitchFamily="34" charset="0"/>
              </a:rPr>
              <a:t>(Target 08th November 2024</a:t>
            </a:r>
            <a:r>
              <a:rPr lang="en-US" sz="1050" i="1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sz="105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Data team has created below data model for Health Scorecard Dashboard with 4 Tables </a:t>
            </a:r>
            <a:r>
              <a:rPr lang="en-US" sz="1050" i="1" dirty="0">
                <a:latin typeface="Arial" panose="020B0604020202020204" pitchFamily="34" charset="0"/>
                <a:cs typeface="Arial" panose="020B0604020202020204" pitchFamily="34" charset="0"/>
              </a:rPr>
              <a:t>(Target 08th November 2024</a:t>
            </a:r>
            <a:r>
              <a:rPr lang="en-US" sz="1050" i="1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sz="105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0089" lvl="1" indent="-342900">
              <a:buFont typeface="Wingdings" panose="05000000000000000000" pitchFamily="2" charset="2"/>
              <a:buChar char="§"/>
            </a:pPr>
            <a:r>
              <a:rPr lang="en-US" sz="105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HC_Mapping_Master</a:t>
            </a: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Complete – Mapping IDs for each metric and OS Type</a:t>
            </a:r>
            <a:endParaRPr lang="en-US" sz="105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0089" lvl="1" indent="-342900">
              <a:buFont typeface="Wingdings" panose="05000000000000000000" pitchFamily="2" charset="2"/>
              <a:buChar char="§"/>
            </a:pPr>
            <a:r>
              <a:rPr lang="en-US" sz="105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HC_Source_Data_Actual</a:t>
            </a: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 – Complete – Actual data from source tables with the raw values</a:t>
            </a:r>
            <a:endParaRPr lang="en-US" sz="105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0089" lvl="1" indent="-342900">
              <a:buFont typeface="Wingdings" panose="05000000000000000000" pitchFamily="2" charset="2"/>
              <a:buChar char="§"/>
            </a:pPr>
            <a:r>
              <a:rPr lang="en-US" sz="105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HC_Source_Data_Calc</a:t>
            </a: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 – WIP – Calculated metrics &amp; sub metrics data (Sub Metrics calculation are WIP)</a:t>
            </a:r>
          </a:p>
          <a:p>
            <a:pPr marL="800089" lvl="1" indent="-342900">
              <a:buFont typeface="Wingdings" panose="05000000000000000000" pitchFamily="2" charset="2"/>
              <a:buChar char="§"/>
            </a:pPr>
            <a:r>
              <a:rPr lang="en-US" sz="105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HC_DB_Metrics_Cal</a:t>
            </a: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WIP 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 Calculated metrics for 7 days/30 days metrics (Calculation Validation is WIP)</a:t>
            </a: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105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BI Team is </a:t>
            </a: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updating the Tableau Dashboard visuals are being updated to the new table views with calculated fields with validation of all the metrics on Tableau  </a:t>
            </a:r>
            <a:r>
              <a:rPr lang="en-US" sz="1050" i="1" dirty="0">
                <a:latin typeface="Arial" panose="020B0604020202020204" pitchFamily="34" charset="0"/>
                <a:cs typeface="Arial" panose="020B0604020202020204" pitchFamily="34" charset="0"/>
              </a:rPr>
              <a:t>(Target </a:t>
            </a:r>
            <a:r>
              <a:rPr lang="en-US" sz="1050" i="1" dirty="0" smtClean="0">
                <a:latin typeface="Arial" panose="020B0604020202020204" pitchFamily="34" charset="0"/>
                <a:cs typeface="Arial" panose="020B0604020202020204" pitchFamily="34" charset="0"/>
              </a:rPr>
              <a:t>16th </a:t>
            </a:r>
            <a:r>
              <a:rPr lang="en-US" sz="1050" i="1" dirty="0">
                <a:latin typeface="Arial" panose="020B0604020202020204" pitchFamily="34" charset="0"/>
                <a:cs typeface="Arial" panose="020B0604020202020204" pitchFamily="34" charset="0"/>
              </a:rPr>
              <a:t>November 2024</a:t>
            </a:r>
            <a:r>
              <a:rPr lang="en-US" sz="1050" i="1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sz="105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0089" lvl="1" indent="-342900">
              <a:buFont typeface="Wingdings" panose="05000000000000000000" pitchFamily="2" charset="2"/>
              <a:buChar char="§"/>
            </a:pP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Trend charts </a:t>
            </a: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and yesterday column in </a:t>
            </a: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Tableau are done </a:t>
            </a: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going through data validation</a:t>
            </a:r>
            <a:endParaRPr lang="en-US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Flowchart: Connector 65"/>
          <p:cNvSpPr/>
          <p:nvPr/>
        </p:nvSpPr>
        <p:spPr>
          <a:xfrm>
            <a:off x="9394764" y="1027419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Flowchart: Connector 66"/>
          <p:cNvSpPr/>
          <p:nvPr/>
        </p:nvSpPr>
        <p:spPr>
          <a:xfrm>
            <a:off x="10789453" y="1020134"/>
            <a:ext cx="137160" cy="137160"/>
          </a:xfrm>
          <a:prstGeom prst="flowChartConnector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9" name="Tab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5854881"/>
              </p:ext>
            </p:extLst>
          </p:nvPr>
        </p:nvGraphicFramePr>
        <p:xfrm>
          <a:off x="7770170" y="1265708"/>
          <a:ext cx="4407592" cy="168402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4407592">
                  <a:extLst>
                    <a:ext uri="{9D8B030D-6E8A-4147-A177-3AD203B41FA5}">
                      <a16:colId xmlns:a16="http://schemas.microsoft.com/office/drawing/2014/main" val="644725935"/>
                    </a:ext>
                  </a:extLst>
                </a:gridCol>
              </a:tblGrid>
              <a:tr h="190675"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ram Objective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6914404"/>
                  </a:ext>
                </a:extLst>
              </a:tr>
              <a:tr h="1213388">
                <a:tc>
                  <a:txBody>
                    <a:bodyPr/>
                    <a:lstStyle/>
                    <a:p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ealth</a:t>
                      </a:r>
                      <a:r>
                        <a:rPr lang="en-US" sz="11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core dashboard: 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vide 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pport on building an integrated data staging layer &amp; Tableau dashboards with integration to AWS S3 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obe is 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 source of the 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.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uto 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xtraction of information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d design ETL 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cedures.</a:t>
                      </a:r>
                    </a:p>
                    <a:p>
                      <a:endParaRPr lang="en-US" sz="11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B Dashboard: </a:t>
                      </a: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vide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upport to create a query for new metrics for dashboard. (Profile and Adoption). And create a table in Athena for 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sualization through Tableau</a:t>
                      </a:r>
                      <a:endParaRPr lang="en-US" sz="11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7513304"/>
                  </a:ext>
                </a:extLst>
              </a:tr>
            </a:tbl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9534377" y="972628"/>
            <a:ext cx="11637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Lagging as Per Plan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11017907" y="947841"/>
            <a:ext cx="11637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On Track as Per Plan</a:t>
            </a:r>
          </a:p>
        </p:txBody>
      </p:sp>
      <p:graphicFrame>
        <p:nvGraphicFramePr>
          <p:cNvPr id="21" name="Table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4458010"/>
              </p:ext>
            </p:extLst>
          </p:nvPr>
        </p:nvGraphicFramePr>
        <p:xfrm>
          <a:off x="21244" y="5068588"/>
          <a:ext cx="12163910" cy="115107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57565">
                  <a:extLst>
                    <a:ext uri="{9D8B030D-6E8A-4147-A177-3AD203B41FA5}">
                      <a16:colId xmlns:a16="http://schemas.microsoft.com/office/drawing/2014/main" val="3485745838"/>
                    </a:ext>
                  </a:extLst>
                </a:gridCol>
                <a:gridCol w="1431637">
                  <a:extLst>
                    <a:ext uri="{9D8B030D-6E8A-4147-A177-3AD203B41FA5}">
                      <a16:colId xmlns:a16="http://schemas.microsoft.com/office/drawing/2014/main" val="1933349237"/>
                    </a:ext>
                  </a:extLst>
                </a:gridCol>
                <a:gridCol w="4620027">
                  <a:extLst>
                    <a:ext uri="{9D8B030D-6E8A-4147-A177-3AD203B41FA5}">
                      <a16:colId xmlns:a16="http://schemas.microsoft.com/office/drawing/2014/main" val="873321475"/>
                    </a:ext>
                  </a:extLst>
                </a:gridCol>
                <a:gridCol w="1551709">
                  <a:extLst>
                    <a:ext uri="{9D8B030D-6E8A-4147-A177-3AD203B41FA5}">
                      <a16:colId xmlns:a16="http://schemas.microsoft.com/office/drawing/2014/main" val="73775240"/>
                    </a:ext>
                  </a:extLst>
                </a:gridCol>
                <a:gridCol w="3502972">
                  <a:extLst>
                    <a:ext uri="{9D8B030D-6E8A-4147-A177-3AD203B41FA5}">
                      <a16:colId xmlns:a16="http://schemas.microsoft.com/office/drawing/2014/main" val="2160433153"/>
                    </a:ext>
                  </a:extLst>
                </a:gridCol>
              </a:tblGrid>
              <a:tr h="358594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/I</a:t>
                      </a:r>
                    </a:p>
                  </a:txBody>
                  <a:tcPr anchor="ctr"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VERITY</a:t>
                      </a:r>
                    </a:p>
                  </a:txBody>
                  <a:tcPr anchor="ctr"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RIPTION</a:t>
                      </a:r>
                    </a:p>
                  </a:txBody>
                  <a:tcPr anchor="ctr"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LANNED DATE</a:t>
                      </a:r>
                    </a:p>
                  </a:txBody>
                  <a:tcPr anchor="ctr"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TIGATION/UPDATES</a:t>
                      </a:r>
                    </a:p>
                  </a:txBody>
                  <a:tcPr anchor="ctr"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78391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457189" rtl="0" eaLnBrk="1" latinLnBrk="0" hangingPunct="1"/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</a:t>
                      </a:r>
                      <a:endParaRPr lang="en-US" sz="10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ealth score</a:t>
                      </a: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 </a:t>
                      </a:r>
                      <a:r>
                        <a:rPr lang="en-US" sz="1000" b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C_DB_Metrics_Cal</a:t>
                      </a: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able, getting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few columns as </a:t>
                      </a:r>
                      <a:r>
                        <a:rPr lang="en-US" sz="1000" b="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N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am is working on reviewing the transformation code in Glue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am is reviewing the code in Python on Glue to fix the issues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46347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457189" rtl="0" eaLnBrk="1" latinLnBrk="0" hangingPunct="1"/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</a:t>
                      </a:r>
                      <a:endParaRPr lang="en-US" sz="10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B</a:t>
                      </a: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 while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fetching the data for 2 years and 2 months source query was exhausted. </a:t>
                      </a: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ied to create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artitioned table but 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able to complete the same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lanning to create a separate tables for 2 years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for profile and adoption section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0633054"/>
                  </a:ext>
                </a:extLst>
              </a:tr>
            </a:tbl>
          </a:graphicData>
        </a:graphic>
      </p:graphicFrame>
      <p:sp>
        <p:nvSpPr>
          <p:cNvPr id="23" name="Flowchart: Connector 22">
            <a:extLst>
              <a:ext uri="{FF2B5EF4-FFF2-40B4-BE49-F238E27FC236}">
                <a16:creationId xmlns:a16="http://schemas.microsoft.com/office/drawing/2014/main" id="{6BEE68F1-BCB3-CB2B-A7FC-CB9CA9606B95}"/>
              </a:ext>
            </a:extLst>
          </p:cNvPr>
          <p:cNvSpPr/>
          <p:nvPr/>
        </p:nvSpPr>
        <p:spPr>
          <a:xfrm>
            <a:off x="7858367" y="5533650"/>
            <a:ext cx="137160" cy="137160"/>
          </a:xfrm>
          <a:prstGeom prst="flowChartConnector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Flowchart: Connector 23">
            <a:extLst>
              <a:ext uri="{FF2B5EF4-FFF2-40B4-BE49-F238E27FC236}">
                <a16:creationId xmlns:a16="http://schemas.microsoft.com/office/drawing/2014/main" id="{95A7C292-1C66-DA31-D677-B46B6C5FC639}"/>
              </a:ext>
            </a:extLst>
          </p:cNvPr>
          <p:cNvSpPr/>
          <p:nvPr/>
        </p:nvSpPr>
        <p:spPr>
          <a:xfrm>
            <a:off x="7858367" y="5951683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Flowchart: Connector 25">
            <a:extLst>
              <a:ext uri="{FF2B5EF4-FFF2-40B4-BE49-F238E27FC236}">
                <a16:creationId xmlns:a16="http://schemas.microsoft.com/office/drawing/2014/main" id="{6BEE68F1-BCB3-CB2B-A7FC-CB9CA9606B95}"/>
              </a:ext>
            </a:extLst>
          </p:cNvPr>
          <p:cNvSpPr/>
          <p:nvPr/>
        </p:nvSpPr>
        <p:spPr>
          <a:xfrm>
            <a:off x="9299246" y="3682590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Flowchart: Connector 26">
            <a:extLst>
              <a:ext uri="{FF2B5EF4-FFF2-40B4-BE49-F238E27FC236}">
                <a16:creationId xmlns:a16="http://schemas.microsoft.com/office/drawing/2014/main" id="{95A7C292-1C66-DA31-D677-B46B6C5FC639}"/>
              </a:ext>
            </a:extLst>
          </p:cNvPr>
          <p:cNvSpPr/>
          <p:nvPr/>
        </p:nvSpPr>
        <p:spPr>
          <a:xfrm>
            <a:off x="9290010" y="4082151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Flowchart: Connector 27">
            <a:extLst>
              <a:ext uri="{FF2B5EF4-FFF2-40B4-BE49-F238E27FC236}">
                <a16:creationId xmlns:a16="http://schemas.microsoft.com/office/drawing/2014/main" id="{B071765B-C6D6-92A3-221A-9875D56950B8}"/>
              </a:ext>
            </a:extLst>
          </p:cNvPr>
          <p:cNvSpPr/>
          <p:nvPr/>
        </p:nvSpPr>
        <p:spPr>
          <a:xfrm>
            <a:off x="9290010" y="4439990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6590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23B3D9-5974-6DF1-41E8-FE8BB3E28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167678"/>
            <a:ext cx="11204448" cy="463610"/>
          </a:xfrm>
        </p:spPr>
        <p:txBody>
          <a:bodyPr/>
          <a:lstStyle/>
          <a:p>
            <a:r>
              <a:rPr lang="en-US" dirty="0"/>
              <a:t>COX - CIAM Project Status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CF66A7C-FACA-CDF4-CE52-E253CDBB61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828501-58BA-692E-22E4-583AADE806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5" name="Rectangle 114"/>
          <p:cNvSpPr/>
          <p:nvPr/>
        </p:nvSpPr>
        <p:spPr bwMode="auto">
          <a:xfrm>
            <a:off x="-2230" y="826958"/>
            <a:ext cx="12192001" cy="319004"/>
          </a:xfrm>
          <a:prstGeom prst="rect">
            <a:avLst/>
          </a:prstGeom>
          <a:gradFill>
            <a:gsLst>
              <a:gs pos="0">
                <a:srgbClr val="00D5FE"/>
              </a:gs>
              <a:gs pos="71000">
                <a:srgbClr val="0190CD"/>
              </a:gs>
            </a:gsLst>
            <a:lin ang="48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77"/>
            <a:r>
              <a:rPr lang="en-US" sz="1100" b="1" dirty="0">
                <a:solidFill>
                  <a:prstClr val="white"/>
                </a:solidFill>
                <a:latin typeface="Arial"/>
              </a:rPr>
              <a:t>ENGAGEMENT STATUS OVERVIEW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8A20834-F799-4E11-B6F2-BFF177DAD956}"/>
              </a:ext>
            </a:extLst>
          </p:cNvPr>
          <p:cNvSpPr/>
          <p:nvPr/>
        </p:nvSpPr>
        <p:spPr bwMode="auto">
          <a:xfrm>
            <a:off x="920298" y="1425614"/>
            <a:ext cx="2011680" cy="708878"/>
          </a:xfrm>
          <a:prstGeom prst="rect">
            <a:avLst/>
          </a:prstGeom>
          <a:gradFill>
            <a:gsLst>
              <a:gs pos="21000">
                <a:schemeClr val="bg1">
                  <a:lumMod val="95000"/>
                </a:schemeClr>
              </a:gs>
              <a:gs pos="99000">
                <a:schemeClr val="bg1"/>
              </a:gs>
            </a:gsLst>
            <a:lin ang="16200000" scaled="0"/>
          </a:gradFill>
          <a:ln w="3175">
            <a:solidFill>
              <a:schemeClr val="bg1">
                <a:lumMod val="85000"/>
              </a:schemeClr>
            </a:solidFill>
          </a:ln>
          <a:effectLst>
            <a:outerShdw blurRad="38100" dist="76200" dir="2700000" algn="tl" rotWithShape="0">
              <a:prstClr val="black">
                <a:alpha val="18000"/>
              </a:prstClr>
            </a:outerShdw>
          </a:effectLst>
        </p:spPr>
        <p:txBody>
          <a:bodyPr vert="horz" wrap="square" lIns="42852" tIns="21425" rIns="42852" bIns="21425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BCF2997-AAAE-48A4-BBA0-330FB9FE241E}"/>
              </a:ext>
            </a:extLst>
          </p:cNvPr>
          <p:cNvSpPr txBox="1"/>
          <p:nvPr/>
        </p:nvSpPr>
        <p:spPr>
          <a:xfrm>
            <a:off x="1102396" y="1567687"/>
            <a:ext cx="1647485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5250" lvl="1" algn="ctr" defTabSz="755650">
              <a:lnSpc>
                <a:spcPct val="90000"/>
              </a:lnSpc>
              <a:spcBef>
                <a:spcPct val="0"/>
              </a:spcBef>
              <a:spcAft>
                <a:spcPts val="900"/>
              </a:spcAft>
              <a:defRPr/>
            </a:pPr>
            <a:r>
              <a:rPr lang="en-US" sz="12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ata Engineering Milestones Status 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557EF51B-49CD-4558-B35F-067ADB2F6F28}"/>
              </a:ext>
            </a:extLst>
          </p:cNvPr>
          <p:cNvSpPr/>
          <p:nvPr/>
        </p:nvSpPr>
        <p:spPr bwMode="auto">
          <a:xfrm>
            <a:off x="1511886" y="2680172"/>
            <a:ext cx="828504" cy="816608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25400" dist="88900" dir="2700000" algn="tl" rotWithShape="0">
              <a:prstClr val="black">
                <a:alpha val="20000"/>
              </a:prstClr>
            </a:outerShdw>
          </a:effectLst>
        </p:spPr>
        <p:txBody>
          <a:bodyPr vert="horz" wrap="square" lIns="42852" tIns="21425" rIns="42852" bIns="21425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468CAF48-FD3B-4533-8A79-940B17A7CE76}"/>
              </a:ext>
            </a:extLst>
          </p:cNvPr>
          <p:cNvSpPr/>
          <p:nvPr/>
        </p:nvSpPr>
        <p:spPr bwMode="auto">
          <a:xfrm>
            <a:off x="9682595" y="3691716"/>
            <a:ext cx="1781536" cy="761905"/>
          </a:xfrm>
          <a:prstGeom prst="rect">
            <a:avLst/>
          </a:prstGeom>
          <a:gradFill>
            <a:gsLst>
              <a:gs pos="21000">
                <a:schemeClr val="bg1">
                  <a:lumMod val="95000"/>
                </a:schemeClr>
              </a:gs>
              <a:gs pos="99000">
                <a:schemeClr val="bg1"/>
              </a:gs>
            </a:gsLst>
            <a:lin ang="16200000" scaled="0"/>
          </a:gradFill>
          <a:ln w="3175">
            <a:solidFill>
              <a:schemeClr val="bg1">
                <a:lumMod val="85000"/>
              </a:schemeClr>
            </a:solidFill>
          </a:ln>
          <a:effectLst>
            <a:outerShdw blurRad="38100" dist="76200" dir="2700000" algn="tl" rotWithShape="0">
              <a:prstClr val="black">
                <a:alpha val="18000"/>
              </a:prstClr>
            </a:outerShdw>
          </a:effectLst>
        </p:spPr>
        <p:txBody>
          <a:bodyPr vert="horz" wrap="square" lIns="42852" tIns="21425" rIns="42852" bIns="21425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05DB5669-E066-40F8-A103-FBF186AFACDC}"/>
              </a:ext>
            </a:extLst>
          </p:cNvPr>
          <p:cNvSpPr/>
          <p:nvPr/>
        </p:nvSpPr>
        <p:spPr bwMode="auto">
          <a:xfrm>
            <a:off x="10436239" y="3536469"/>
            <a:ext cx="274249" cy="274249"/>
          </a:xfrm>
          <a:prstGeom prst="ellipse">
            <a:avLst/>
          </a:prstGeom>
          <a:gradFill>
            <a:gsLst>
              <a:gs pos="27000">
                <a:srgbClr val="FC9926"/>
              </a:gs>
              <a:gs pos="99000">
                <a:srgbClr val="FCCE2E"/>
              </a:gs>
            </a:gsLst>
            <a:lin ang="16200000" scaled="0"/>
          </a:gradFill>
          <a:ln>
            <a:noFill/>
          </a:ln>
          <a:effectLst>
            <a:outerShdw blurRad="25400" dist="63500" dir="2700000" algn="tl" rotWithShape="0">
              <a:prstClr val="black">
                <a:alpha val="20000"/>
              </a:prstClr>
            </a:outerShdw>
          </a:effectLst>
        </p:spPr>
        <p:txBody>
          <a:bodyPr vert="horz" wrap="square" lIns="42852" tIns="21425" rIns="42852" bIns="21425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prstClr val="white"/>
                </a:solidFill>
                <a:latin typeface="Calibri" panose="020F0502020204030204" pitchFamily="34" charset="0"/>
              </a:rPr>
              <a:t>3</a:t>
            </a:r>
            <a:endParaRPr kumimoji="0" lang="en-US" sz="16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063CAF9-C3CE-4292-9DAC-01FFFB0CF180}"/>
              </a:ext>
            </a:extLst>
          </p:cNvPr>
          <p:cNvSpPr txBox="1"/>
          <p:nvPr/>
        </p:nvSpPr>
        <p:spPr>
          <a:xfrm>
            <a:off x="9682595" y="3945120"/>
            <a:ext cx="2015629" cy="397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5250" marR="0" lvl="1" indent="0" algn="ctr" defTabSz="7556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olution Testing &amp;   Production Go Live</a:t>
            </a:r>
            <a:endParaRPr kumimoji="0" lang="en-US" sz="11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9207D89E-7EF0-4573-8E8A-25CDBF971F24}"/>
              </a:ext>
            </a:extLst>
          </p:cNvPr>
          <p:cNvSpPr/>
          <p:nvPr/>
        </p:nvSpPr>
        <p:spPr bwMode="auto">
          <a:xfrm>
            <a:off x="7702422" y="2680172"/>
            <a:ext cx="828504" cy="816608"/>
          </a:xfrm>
          <a:prstGeom prst="ellipse">
            <a:avLst/>
          </a:prstGeom>
          <a:gradFill>
            <a:gsLst>
              <a:gs pos="27000">
                <a:srgbClr val="FC9926"/>
              </a:gs>
              <a:gs pos="99000">
                <a:srgbClr val="FCCE2E"/>
              </a:gs>
            </a:gsLst>
            <a:lin ang="16200000" scaled="0"/>
          </a:gradFill>
          <a:ln>
            <a:noFill/>
          </a:ln>
          <a:effectLst>
            <a:outerShdw blurRad="25400" dist="88900" dir="2700000" algn="tl" rotWithShape="0">
              <a:prstClr val="black">
                <a:alpha val="20000"/>
              </a:prstClr>
            </a:outerShdw>
          </a:effectLst>
        </p:spPr>
        <p:txBody>
          <a:bodyPr vert="horz" wrap="square" lIns="42852" tIns="21425" rIns="42852" bIns="21425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53DBADE3-E65D-42DD-873B-A9F30A16B01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65134" y="2827472"/>
            <a:ext cx="522008" cy="522008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520EF7F7-089C-486F-898E-45CC6AEF77DC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8274" y="2832961"/>
            <a:ext cx="509025" cy="490927"/>
          </a:xfrm>
          <a:prstGeom prst="rect">
            <a:avLst/>
          </a:prstGeom>
        </p:spPr>
      </p:pic>
      <p:sp>
        <p:nvSpPr>
          <p:cNvPr id="50" name="Rectangle 49">
            <a:extLst>
              <a:ext uri="{FF2B5EF4-FFF2-40B4-BE49-F238E27FC236}">
                <a16:creationId xmlns:a16="http://schemas.microsoft.com/office/drawing/2014/main" id="{DD5ADBD3-2FDF-4075-9E3B-38EB7A3F5CE4}"/>
              </a:ext>
            </a:extLst>
          </p:cNvPr>
          <p:cNvSpPr/>
          <p:nvPr/>
        </p:nvSpPr>
        <p:spPr bwMode="auto">
          <a:xfrm>
            <a:off x="920298" y="2222900"/>
            <a:ext cx="2011680" cy="3833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42852" tIns="21425" rIns="42852" bIns="21425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STAGING LAYER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D39A5F5F-5D64-4ED1-98B0-42D9C9EB9E4B}"/>
              </a:ext>
            </a:extLst>
          </p:cNvPr>
          <p:cNvSpPr/>
          <p:nvPr/>
        </p:nvSpPr>
        <p:spPr bwMode="auto">
          <a:xfrm>
            <a:off x="754969" y="3724065"/>
            <a:ext cx="2377440" cy="2743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defTabSz="685777"/>
            <a:r>
              <a:rPr lang="en-US" sz="1050" dirty="0">
                <a:latin typeface="Calibri" panose="020F0502020204030204" pitchFamily="34" charset="0"/>
                <a:cs typeface="Calibri" panose="020F0502020204030204" pitchFamily="34" charset="0"/>
              </a:rPr>
              <a:t>Data Staging Goals &amp; Discovery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BA43CF98-3B7B-4ACB-A109-0164B45F3BAF}"/>
              </a:ext>
            </a:extLst>
          </p:cNvPr>
          <p:cNvSpPr/>
          <p:nvPr/>
        </p:nvSpPr>
        <p:spPr bwMode="auto">
          <a:xfrm>
            <a:off x="3914220" y="4089958"/>
            <a:ext cx="2377440" cy="2743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defTabSz="685777"/>
            <a:r>
              <a:rPr lang="en-US" sz="1050" dirty="0">
                <a:latin typeface="Calibri" panose="020F0502020204030204" pitchFamily="34" charset="0"/>
                <a:cs typeface="Calibri" panose="020F0502020204030204" pitchFamily="34" charset="0"/>
              </a:rPr>
              <a:t>Designing Wireframes/Mockups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A4DF7C44-ECBA-4A02-82DD-B5626FCA5286}"/>
              </a:ext>
            </a:extLst>
          </p:cNvPr>
          <p:cNvSpPr/>
          <p:nvPr/>
        </p:nvSpPr>
        <p:spPr bwMode="auto">
          <a:xfrm>
            <a:off x="3914220" y="4818094"/>
            <a:ext cx="2377440" cy="2743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defTabSz="685777"/>
            <a:r>
              <a:rPr lang="en-US" sz="1050" dirty="0">
                <a:latin typeface="Calibri" panose="020F0502020204030204" pitchFamily="34" charset="0"/>
                <a:cs typeface="Calibri" panose="020F0502020204030204" pitchFamily="34" charset="0"/>
              </a:rPr>
              <a:t>Design basis the Fact Tables Data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03F35F14-8770-42DB-BFDF-061CC7B32C2C}"/>
              </a:ext>
            </a:extLst>
          </p:cNvPr>
          <p:cNvSpPr/>
          <p:nvPr/>
        </p:nvSpPr>
        <p:spPr bwMode="auto">
          <a:xfrm>
            <a:off x="3914220" y="4454026"/>
            <a:ext cx="2377440" cy="2743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defTabSz="685777"/>
            <a:r>
              <a:rPr lang="en-US" sz="1050" dirty="0">
                <a:latin typeface="Calibri" panose="020F0502020204030204" pitchFamily="34" charset="0"/>
                <a:cs typeface="Calibri" panose="020F0502020204030204" pitchFamily="34" charset="0"/>
              </a:rPr>
              <a:t>Stakeholder Validation &amp; Review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0CBA1D39-8422-4A7A-93A8-91726B3E3023}"/>
              </a:ext>
            </a:extLst>
          </p:cNvPr>
          <p:cNvSpPr/>
          <p:nvPr/>
        </p:nvSpPr>
        <p:spPr bwMode="auto">
          <a:xfrm>
            <a:off x="752742" y="4088474"/>
            <a:ext cx="2377440" cy="2743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defTabSz="685777"/>
            <a:r>
              <a:rPr lang="en-US" sz="1050" dirty="0">
                <a:latin typeface="Calibri" panose="020F0502020204030204" pitchFamily="34" charset="0"/>
                <a:cs typeface="Calibri" panose="020F0502020204030204" pitchFamily="34" charset="0"/>
              </a:rPr>
              <a:t>Create Profile/Account Fact Tables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547A01EE-AFC1-4106-9D03-33BC8513FE22}"/>
              </a:ext>
            </a:extLst>
          </p:cNvPr>
          <p:cNvSpPr/>
          <p:nvPr/>
        </p:nvSpPr>
        <p:spPr bwMode="auto">
          <a:xfrm>
            <a:off x="752742" y="4817292"/>
            <a:ext cx="2377440" cy="2743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defTabSz="685777"/>
            <a:r>
              <a:rPr lang="en-US" sz="1050" dirty="0">
                <a:latin typeface="Calibri" panose="020F0502020204030204" pitchFamily="34" charset="0"/>
                <a:cs typeface="Calibri" panose="020F0502020204030204" pitchFamily="34" charset="0"/>
              </a:rPr>
              <a:t>Uploading Fact Tables to Sandbox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43E0EB47-BB35-45C5-A463-25258F905CF0}"/>
              </a:ext>
            </a:extLst>
          </p:cNvPr>
          <p:cNvSpPr/>
          <p:nvPr/>
        </p:nvSpPr>
        <p:spPr bwMode="auto">
          <a:xfrm>
            <a:off x="752742" y="4452883"/>
            <a:ext cx="2377440" cy="2743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defTabSz="685777"/>
            <a:r>
              <a:rPr lang="en-US" sz="1050" dirty="0">
                <a:latin typeface="Calibri" panose="020F0502020204030204" pitchFamily="34" charset="0"/>
                <a:cs typeface="Calibri" panose="020F0502020204030204" pitchFamily="34" charset="0"/>
              </a:rPr>
              <a:t>Create Transaction Fact Tables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4C95E6FF-53FF-4B16-BDF7-723AD9D02E07}"/>
              </a:ext>
            </a:extLst>
          </p:cNvPr>
          <p:cNvSpPr/>
          <p:nvPr/>
        </p:nvSpPr>
        <p:spPr bwMode="auto">
          <a:xfrm>
            <a:off x="3983330" y="2222900"/>
            <a:ext cx="2030697" cy="3833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42852" tIns="21425" rIns="42852" bIns="21425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IZ. </a:t>
            </a:r>
            <a:r>
              <a:rPr kumimoji="0" lang="en-US" sz="1200" b="1" u="none" strike="noStrike" kern="1200" cap="none" spc="0" normalizeH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TELLIGENCE LAYER</a:t>
            </a:r>
            <a:endParaRPr kumimoji="0" lang="en-US" sz="1200" b="1" u="none" strike="noStrike" kern="120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419AFE39-5F4A-41BE-8107-52CD291EB204}"/>
              </a:ext>
            </a:extLst>
          </p:cNvPr>
          <p:cNvSpPr/>
          <p:nvPr/>
        </p:nvSpPr>
        <p:spPr bwMode="auto">
          <a:xfrm>
            <a:off x="3992838" y="1425614"/>
            <a:ext cx="2011680" cy="708878"/>
          </a:xfrm>
          <a:prstGeom prst="rect">
            <a:avLst/>
          </a:prstGeom>
          <a:gradFill>
            <a:gsLst>
              <a:gs pos="21000">
                <a:schemeClr val="bg1">
                  <a:lumMod val="95000"/>
                </a:schemeClr>
              </a:gs>
              <a:gs pos="99000">
                <a:schemeClr val="bg1"/>
              </a:gs>
            </a:gsLst>
            <a:lin ang="16200000" scaled="0"/>
          </a:gradFill>
          <a:ln w="3175">
            <a:solidFill>
              <a:schemeClr val="bg1">
                <a:lumMod val="85000"/>
              </a:schemeClr>
            </a:solidFill>
          </a:ln>
          <a:effectLst>
            <a:outerShdw blurRad="38100" dist="76200" dir="2700000" algn="tl" rotWithShape="0">
              <a:prstClr val="black">
                <a:alpha val="18000"/>
              </a:prstClr>
            </a:outerShdw>
          </a:effectLst>
        </p:spPr>
        <p:txBody>
          <a:bodyPr vert="horz" wrap="square" lIns="42852" tIns="21425" rIns="42852" bIns="21425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587DAAC1-5D18-40B6-9F41-D118DEED8921}"/>
              </a:ext>
            </a:extLst>
          </p:cNvPr>
          <p:cNvSpPr txBox="1"/>
          <p:nvPr/>
        </p:nvSpPr>
        <p:spPr>
          <a:xfrm>
            <a:off x="3992838" y="1567687"/>
            <a:ext cx="2011680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5250" marR="0" lvl="1" indent="0" algn="ctr" defTabSz="7556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Dashboards Designing Milestones Status</a:t>
            </a:r>
            <a:endParaRPr kumimoji="0" lang="en-US" sz="12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72138732-0BE5-4F0D-A3D5-87156BF838EC}"/>
              </a:ext>
            </a:extLst>
          </p:cNvPr>
          <p:cNvSpPr/>
          <p:nvPr/>
        </p:nvSpPr>
        <p:spPr bwMode="auto">
          <a:xfrm>
            <a:off x="4584426" y="2680172"/>
            <a:ext cx="828504" cy="816608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>
            <a:outerShdw blurRad="25400" dist="88900" dir="2700000" algn="tl" rotWithShape="0">
              <a:prstClr val="black">
                <a:alpha val="20000"/>
              </a:prstClr>
            </a:outerShdw>
          </a:effectLst>
        </p:spPr>
        <p:txBody>
          <a:bodyPr vert="horz" wrap="square" lIns="42852" tIns="21425" rIns="42852" bIns="21425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8" name="Picture 87">
            <a:extLst>
              <a:ext uri="{FF2B5EF4-FFF2-40B4-BE49-F238E27FC236}">
                <a16:creationId xmlns:a16="http://schemas.microsoft.com/office/drawing/2014/main" id="{9CF8F4D9-29AB-43B7-9A32-CB373B143E5A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54249" y="2738385"/>
            <a:ext cx="688859" cy="700183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:a16="http://schemas.microsoft.com/office/drawing/2014/main" id="{008BE3DF-77FD-4042-B29F-CEDA90518213}"/>
              </a:ext>
            </a:extLst>
          </p:cNvPr>
          <p:cNvSpPr/>
          <p:nvPr/>
        </p:nvSpPr>
        <p:spPr bwMode="auto">
          <a:xfrm>
            <a:off x="3919410" y="3725890"/>
            <a:ext cx="2377440" cy="2743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defTabSz="685777"/>
            <a:r>
              <a:rPr lang="en-US" sz="105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grated Market Database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0CBA1D39-8422-4A7A-93A8-91726B3E3023}"/>
              </a:ext>
            </a:extLst>
          </p:cNvPr>
          <p:cNvSpPr/>
          <p:nvPr/>
        </p:nvSpPr>
        <p:spPr bwMode="auto">
          <a:xfrm>
            <a:off x="752742" y="5181701"/>
            <a:ext cx="2377440" cy="274320"/>
          </a:xfrm>
          <a:prstGeom prst="rect">
            <a:avLst/>
          </a:prstGeom>
          <a:solidFill>
            <a:srgbClr val="FFCC99"/>
          </a:solidFill>
          <a:ln w="3175"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defTabSz="685777"/>
            <a:r>
              <a:rPr lang="en-US" sz="1050" dirty="0">
                <a:latin typeface="Calibri" panose="020F0502020204030204" pitchFamily="34" charset="0"/>
                <a:cs typeface="Calibri" panose="020F0502020204030204" pitchFamily="34" charset="0"/>
              </a:rPr>
              <a:t>Review/Validation of </a:t>
            </a:r>
            <a:r>
              <a:rPr lang="en-US" sz="1050" dirty="0" smtClean="0">
                <a:latin typeface="Calibri" panose="020F0502020204030204" pitchFamily="34" charset="0"/>
                <a:cs typeface="Calibri" panose="020F0502020204030204" pitchFamily="34" charset="0"/>
              </a:rPr>
              <a:t>Complete Data</a:t>
            </a:r>
            <a:endParaRPr lang="en-US" sz="105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547A01EE-AFC1-4106-9D03-33BC8513FE22}"/>
              </a:ext>
            </a:extLst>
          </p:cNvPr>
          <p:cNvSpPr/>
          <p:nvPr/>
        </p:nvSpPr>
        <p:spPr bwMode="auto">
          <a:xfrm>
            <a:off x="752742" y="5910518"/>
            <a:ext cx="2377440" cy="274320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defTabSz="685777"/>
            <a:r>
              <a:rPr lang="en-US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gesting Larger dataset into Tables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43E0EB47-BB35-45C5-A463-25258F905CF0}"/>
              </a:ext>
            </a:extLst>
          </p:cNvPr>
          <p:cNvSpPr/>
          <p:nvPr/>
        </p:nvSpPr>
        <p:spPr bwMode="auto">
          <a:xfrm>
            <a:off x="752742" y="5546110"/>
            <a:ext cx="2377440" cy="274320"/>
          </a:xfrm>
          <a:prstGeom prst="rect">
            <a:avLst/>
          </a:prstGeom>
          <a:solidFill>
            <a:srgbClr val="FFCC99"/>
          </a:solidFill>
          <a:ln w="3175"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defTabSz="685777"/>
            <a:r>
              <a:rPr lang="en-US" sz="1050" dirty="0">
                <a:latin typeface="Calibri" panose="020F0502020204030204" pitchFamily="34" charset="0"/>
                <a:cs typeface="Calibri" panose="020F0502020204030204" pitchFamily="34" charset="0"/>
              </a:rPr>
              <a:t>Create ETL </a:t>
            </a:r>
            <a:r>
              <a:rPr lang="en-US" sz="1050" dirty="0" smtClean="0">
                <a:latin typeface="Calibri" panose="020F0502020204030204" pitchFamily="34" charset="0"/>
                <a:cs typeface="Calibri" panose="020F0502020204030204" pitchFamily="34" charset="0"/>
              </a:rPr>
              <a:t>Pipelines </a:t>
            </a:r>
            <a:r>
              <a:rPr lang="en-US" sz="1050" dirty="0">
                <a:latin typeface="Calibri" panose="020F0502020204030204" pitchFamily="34" charset="0"/>
                <a:cs typeface="Calibri" panose="020F0502020204030204" pitchFamily="34" charset="0"/>
              </a:rPr>
              <a:t>for </a:t>
            </a:r>
            <a:r>
              <a:rPr lang="en-US" sz="1050" dirty="0" smtClean="0">
                <a:latin typeface="Calibri" panose="020F0502020204030204" pitchFamily="34" charset="0"/>
                <a:cs typeface="Calibri" panose="020F0502020204030204" pitchFamily="34" charset="0"/>
              </a:rPr>
              <a:t>Complete Data</a:t>
            </a:r>
            <a:endParaRPr lang="en-US" sz="105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BA43CF98-3B7B-4ACB-A109-0164B45F3BAF}"/>
              </a:ext>
            </a:extLst>
          </p:cNvPr>
          <p:cNvSpPr/>
          <p:nvPr/>
        </p:nvSpPr>
        <p:spPr bwMode="auto">
          <a:xfrm>
            <a:off x="3914220" y="5182162"/>
            <a:ext cx="2377440" cy="274320"/>
          </a:xfrm>
          <a:prstGeom prst="rect">
            <a:avLst/>
          </a:prstGeom>
          <a:solidFill>
            <a:srgbClr val="FFCC99"/>
          </a:solidFill>
          <a:ln w="3175"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defTabSz="685777"/>
            <a:r>
              <a:rPr lang="en-US" sz="1050" dirty="0">
                <a:latin typeface="Calibri" panose="020F0502020204030204" pitchFamily="34" charset="0"/>
                <a:cs typeface="Calibri" panose="020F0502020204030204" pitchFamily="34" charset="0"/>
              </a:rPr>
              <a:t>Validation of Data Metrics/Attributes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A4DF7C44-ECBA-4A02-82DD-B5626FCA5286}"/>
              </a:ext>
            </a:extLst>
          </p:cNvPr>
          <p:cNvSpPr/>
          <p:nvPr/>
        </p:nvSpPr>
        <p:spPr bwMode="auto">
          <a:xfrm>
            <a:off x="3914220" y="5910296"/>
            <a:ext cx="2377440" cy="274320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defTabSz="685777"/>
            <a:r>
              <a:rPr lang="en-US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alidation with </a:t>
            </a:r>
            <a:r>
              <a:rPr lang="en-US" sz="105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plete Data ETL</a:t>
            </a:r>
            <a:endParaRPr lang="en-US" sz="105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03F35F14-8770-42DB-BFDF-061CC7B32C2C}"/>
              </a:ext>
            </a:extLst>
          </p:cNvPr>
          <p:cNvSpPr/>
          <p:nvPr/>
        </p:nvSpPr>
        <p:spPr bwMode="auto">
          <a:xfrm>
            <a:off x="3914220" y="5546230"/>
            <a:ext cx="2377440" cy="274320"/>
          </a:xfrm>
          <a:prstGeom prst="rect">
            <a:avLst/>
          </a:prstGeom>
          <a:solidFill>
            <a:srgbClr val="FFCC99"/>
          </a:solidFill>
          <a:ln w="3175"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defTabSz="685777"/>
            <a:r>
              <a:rPr lang="en-US" sz="1050" dirty="0" smtClean="0">
                <a:latin typeface="Calibri" panose="020F0502020204030204" pitchFamily="34" charset="0"/>
                <a:cs typeface="Calibri" panose="020F0502020204030204" pitchFamily="34" charset="0"/>
              </a:rPr>
              <a:t>Integration </a:t>
            </a:r>
            <a:r>
              <a:rPr lang="en-US" sz="1050" dirty="0">
                <a:latin typeface="Calibri" panose="020F0502020204030204" pitchFamily="34" charset="0"/>
                <a:cs typeface="Calibri" panose="020F0502020204030204" pitchFamily="34" charset="0"/>
              </a:rPr>
              <a:t>with the </a:t>
            </a:r>
            <a:r>
              <a:rPr lang="en-US" sz="1050" dirty="0" smtClean="0">
                <a:latin typeface="Calibri" panose="020F0502020204030204" pitchFamily="34" charset="0"/>
                <a:cs typeface="Calibri" panose="020F0502020204030204" pitchFamily="34" charset="0"/>
              </a:rPr>
              <a:t>Complete Data</a:t>
            </a:r>
            <a:endParaRPr lang="en-US" sz="105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A4DF7C44-ECBA-4A02-82DD-B5626FCA5286}"/>
              </a:ext>
            </a:extLst>
          </p:cNvPr>
          <p:cNvSpPr/>
          <p:nvPr/>
        </p:nvSpPr>
        <p:spPr bwMode="auto">
          <a:xfrm>
            <a:off x="7002434" y="4822439"/>
            <a:ext cx="2377440" cy="2743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defTabSz="685777"/>
            <a:r>
              <a:rPr lang="en-US" sz="1050" dirty="0">
                <a:latin typeface="Calibri" panose="020F0502020204030204" pitchFamily="34" charset="0"/>
                <a:cs typeface="Calibri" panose="020F0502020204030204" pitchFamily="34" charset="0"/>
              </a:rPr>
              <a:t>Tableau Connectivity to Sandbox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BA43CF98-3B7B-4ACB-A109-0164B45F3BAF}"/>
              </a:ext>
            </a:extLst>
          </p:cNvPr>
          <p:cNvSpPr/>
          <p:nvPr/>
        </p:nvSpPr>
        <p:spPr bwMode="auto">
          <a:xfrm>
            <a:off x="7002434" y="5181701"/>
            <a:ext cx="2377440" cy="274320"/>
          </a:xfrm>
          <a:prstGeom prst="rect">
            <a:avLst/>
          </a:prstGeom>
          <a:solidFill>
            <a:srgbClr val="FFCC99"/>
          </a:solidFill>
          <a:ln w="3175"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defTabSz="685777"/>
            <a:r>
              <a:rPr lang="en-US" sz="1050" dirty="0">
                <a:latin typeface="Calibri" panose="020F0502020204030204" pitchFamily="34" charset="0"/>
                <a:cs typeface="Calibri" panose="020F0502020204030204" pitchFamily="34" charset="0"/>
              </a:rPr>
              <a:t>Data Access &amp; Validation Completion 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A4DF7C44-ECBA-4A02-82DD-B5626FCA5286}"/>
              </a:ext>
            </a:extLst>
          </p:cNvPr>
          <p:cNvSpPr/>
          <p:nvPr/>
        </p:nvSpPr>
        <p:spPr bwMode="auto">
          <a:xfrm>
            <a:off x="7002434" y="5545772"/>
            <a:ext cx="2377440" cy="274320"/>
          </a:xfrm>
          <a:prstGeom prst="rect">
            <a:avLst/>
          </a:prstGeom>
          <a:solidFill>
            <a:srgbClr val="FFCC99"/>
          </a:solidFill>
          <a:ln w="3175"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defTabSz="685777"/>
            <a:r>
              <a:rPr lang="en-US" sz="1050" dirty="0">
                <a:latin typeface="Calibri" panose="020F0502020204030204" pitchFamily="34" charset="0"/>
                <a:cs typeface="Calibri" panose="020F0502020204030204" pitchFamily="34" charset="0"/>
              </a:rPr>
              <a:t>Access to the </a:t>
            </a:r>
            <a:r>
              <a:rPr lang="en-US" sz="1050" dirty="0" smtClean="0">
                <a:latin typeface="Calibri" panose="020F0502020204030204" pitchFamily="34" charset="0"/>
                <a:cs typeface="Calibri" panose="020F0502020204030204" pitchFamily="34" charset="0"/>
              </a:rPr>
              <a:t>Complete </a:t>
            </a:r>
            <a:r>
              <a:rPr lang="en-US" sz="1050" dirty="0">
                <a:latin typeface="Calibri" panose="020F0502020204030204" pitchFamily="34" charset="0"/>
                <a:cs typeface="Calibri" panose="020F0502020204030204" pitchFamily="34" charset="0"/>
              </a:rPr>
              <a:t>Data set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03F35F14-8770-42DB-BFDF-061CC7B32C2C}"/>
              </a:ext>
            </a:extLst>
          </p:cNvPr>
          <p:cNvSpPr/>
          <p:nvPr/>
        </p:nvSpPr>
        <p:spPr bwMode="auto">
          <a:xfrm>
            <a:off x="7002434" y="5906783"/>
            <a:ext cx="2377440" cy="274320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defTabSz="685777"/>
            <a:r>
              <a:rPr lang="en-US" sz="10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cess to the AWS Glue ETL Service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4C95E6FF-53FF-4B16-BDF7-723AD9D02E07}"/>
              </a:ext>
            </a:extLst>
          </p:cNvPr>
          <p:cNvSpPr/>
          <p:nvPr/>
        </p:nvSpPr>
        <p:spPr bwMode="auto">
          <a:xfrm>
            <a:off x="9682595" y="4623992"/>
            <a:ext cx="1898583" cy="7109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42852" tIns="21425" rIns="42852" bIns="21425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rgbClr val="FC931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riginal ETA – 04</a:t>
            </a:r>
            <a:r>
              <a:rPr lang="en-US" sz="1200" b="1" baseline="30000" noProof="0" dirty="0">
                <a:solidFill>
                  <a:srgbClr val="FC931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</a:t>
            </a:r>
            <a:r>
              <a:rPr lang="en-US" sz="1200" b="1" noProof="0" dirty="0">
                <a:solidFill>
                  <a:srgbClr val="FC931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N</a:t>
            </a: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rgbClr val="FC931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v’24</a:t>
            </a:r>
          </a:p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1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0" algn="ctr" defTabSz="914126">
              <a:defRPr/>
            </a:pPr>
            <a:r>
              <a:rPr lang="en-US" sz="12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ntative</a:t>
            </a: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en-US" sz="12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TA –</a:t>
            </a:r>
            <a:r>
              <a:rPr kumimoji="0" lang="en-US" sz="1200" b="1" u="none" strike="noStrike" kern="1200" cap="none" spc="0" normalizeH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6</a:t>
            </a:r>
            <a:r>
              <a:rPr kumimoji="0" lang="en-US" sz="1200" b="1" u="none" strike="noStrike" kern="1200" cap="none" spc="0" normalizeH="0" baseline="3000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h</a:t>
            </a: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Dec’24</a:t>
            </a: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4C95E6FF-53FF-4B16-BDF7-723AD9D02E07}"/>
              </a:ext>
            </a:extLst>
          </p:cNvPr>
          <p:cNvSpPr/>
          <p:nvPr/>
        </p:nvSpPr>
        <p:spPr bwMode="auto">
          <a:xfrm>
            <a:off x="7094251" y="2222900"/>
            <a:ext cx="2030697" cy="3833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42852" tIns="21425" rIns="42852" bIns="21425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rgbClr val="FC931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OX SUPPORT REQUIRED</a:t>
            </a: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419AFE39-5F4A-41BE-8107-52CD291EB204}"/>
              </a:ext>
            </a:extLst>
          </p:cNvPr>
          <p:cNvSpPr/>
          <p:nvPr/>
        </p:nvSpPr>
        <p:spPr bwMode="auto">
          <a:xfrm>
            <a:off x="7113268" y="1425614"/>
            <a:ext cx="2011680" cy="708878"/>
          </a:xfrm>
          <a:prstGeom prst="rect">
            <a:avLst/>
          </a:prstGeom>
          <a:gradFill>
            <a:gsLst>
              <a:gs pos="21000">
                <a:schemeClr val="bg1">
                  <a:lumMod val="95000"/>
                </a:schemeClr>
              </a:gs>
              <a:gs pos="99000">
                <a:schemeClr val="bg1"/>
              </a:gs>
            </a:gsLst>
            <a:lin ang="16200000" scaled="0"/>
          </a:gradFill>
          <a:ln w="3175">
            <a:solidFill>
              <a:schemeClr val="bg1">
                <a:lumMod val="85000"/>
              </a:schemeClr>
            </a:solidFill>
          </a:ln>
          <a:effectLst>
            <a:outerShdw blurRad="38100" dist="76200" dir="2700000" algn="tl" rotWithShape="0">
              <a:prstClr val="black">
                <a:alpha val="18000"/>
              </a:prstClr>
            </a:outerShdw>
          </a:effectLst>
        </p:spPr>
        <p:txBody>
          <a:bodyPr vert="horz" wrap="square" lIns="42852" tIns="21425" rIns="42852" bIns="21425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587DAAC1-5D18-40B6-9F41-D118DEED8921}"/>
              </a:ext>
            </a:extLst>
          </p:cNvPr>
          <p:cNvSpPr txBox="1"/>
          <p:nvPr/>
        </p:nvSpPr>
        <p:spPr>
          <a:xfrm>
            <a:off x="7113268" y="1567687"/>
            <a:ext cx="2011680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5250" marR="0" lvl="1" indent="0" algn="ctr" defTabSz="7556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High Risk Challenges           and Constraints</a:t>
            </a:r>
            <a:endParaRPr kumimoji="0" lang="en-US" sz="12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51C0749-3099-91A0-0A81-DB9B0D5D6900}"/>
              </a:ext>
            </a:extLst>
          </p:cNvPr>
          <p:cNvSpPr txBox="1"/>
          <p:nvPr/>
        </p:nvSpPr>
        <p:spPr>
          <a:xfrm>
            <a:off x="9390569" y="1891049"/>
            <a:ext cx="2378204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050" dirty="0"/>
              <a:t>Tableau Access &amp; S3 connectivity – WIP ( Manual approach to connect S3 but session disconnect in 8 Hrs.)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050" dirty="0"/>
              <a:t>Excel operation limitation in Cox environment – Delay in data validation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8EF92A3-7A56-6B9A-E8EE-1DAC0305E319}"/>
              </a:ext>
            </a:extLst>
          </p:cNvPr>
          <p:cNvSpPr/>
          <p:nvPr/>
        </p:nvSpPr>
        <p:spPr bwMode="auto">
          <a:xfrm>
            <a:off x="9687469" y="1649276"/>
            <a:ext cx="939144" cy="208543"/>
          </a:xfrm>
          <a:prstGeom prst="rect">
            <a:avLst/>
          </a:prstGeom>
          <a:solidFill>
            <a:srgbClr val="FFC000"/>
          </a:solidFill>
          <a:ln>
            <a:solidFill>
              <a:srgbClr val="0D4368"/>
            </a:solidFill>
          </a:ln>
        </p:spPr>
        <p:txBody>
          <a:bodyPr vert="horz" wrap="square" lIns="42863" tIns="21431" rIns="42863" bIns="21431" numCol="1" rtlCol="0" anchor="ctr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US" sz="1050" b="1" dirty="0">
              <a:solidFill>
                <a:srgbClr val="00B050"/>
              </a:solidFill>
              <a:highlight>
                <a:srgbClr val="FFE181"/>
              </a:highlight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4F5E6B7-39EA-F122-1F4D-49892BCCBB54}"/>
              </a:ext>
            </a:extLst>
          </p:cNvPr>
          <p:cNvSpPr txBox="1"/>
          <p:nvPr/>
        </p:nvSpPr>
        <p:spPr>
          <a:xfrm>
            <a:off x="9390569" y="1375153"/>
            <a:ext cx="15838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Overall Project Statu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F7B9FBE-C925-9D4B-8F89-B42745540966}"/>
              </a:ext>
            </a:extLst>
          </p:cNvPr>
          <p:cNvSpPr/>
          <p:nvPr/>
        </p:nvSpPr>
        <p:spPr>
          <a:xfrm>
            <a:off x="9395067" y="1341632"/>
            <a:ext cx="2303157" cy="2007848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A18FE24-2496-85C7-0C08-83E0DF1C7FDB}"/>
              </a:ext>
            </a:extLst>
          </p:cNvPr>
          <p:cNvSpPr/>
          <p:nvPr/>
        </p:nvSpPr>
        <p:spPr bwMode="auto">
          <a:xfrm>
            <a:off x="9679816" y="3665511"/>
            <a:ext cx="1781536" cy="761905"/>
          </a:xfrm>
          <a:prstGeom prst="rect">
            <a:avLst/>
          </a:prstGeom>
          <a:gradFill>
            <a:gsLst>
              <a:gs pos="21000">
                <a:schemeClr val="bg1">
                  <a:lumMod val="95000"/>
                </a:schemeClr>
              </a:gs>
              <a:gs pos="99000">
                <a:schemeClr val="bg1"/>
              </a:gs>
            </a:gsLst>
            <a:lin ang="16200000" scaled="0"/>
          </a:gradFill>
          <a:ln w="3175">
            <a:solidFill>
              <a:schemeClr val="bg1">
                <a:lumMod val="85000"/>
              </a:schemeClr>
            </a:solidFill>
          </a:ln>
          <a:effectLst>
            <a:outerShdw blurRad="38100" dist="76200" dir="2700000" algn="tl" rotWithShape="0">
              <a:prstClr val="black">
                <a:alpha val="18000"/>
              </a:prstClr>
            </a:outerShdw>
          </a:effectLst>
        </p:spPr>
        <p:txBody>
          <a:bodyPr vert="horz" wrap="square" lIns="42852" tIns="21425" rIns="42852" bIns="21425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2633CFA-85AC-A5D4-7EA3-7AB3FDB3F87A}"/>
              </a:ext>
            </a:extLst>
          </p:cNvPr>
          <p:cNvSpPr/>
          <p:nvPr/>
        </p:nvSpPr>
        <p:spPr bwMode="auto">
          <a:xfrm>
            <a:off x="10433460" y="3510264"/>
            <a:ext cx="274249" cy="274249"/>
          </a:xfrm>
          <a:prstGeom prst="ellipse">
            <a:avLst/>
          </a:prstGeom>
          <a:gradFill>
            <a:gsLst>
              <a:gs pos="27000">
                <a:srgbClr val="FC9926"/>
              </a:gs>
              <a:gs pos="99000">
                <a:srgbClr val="FCCE2E"/>
              </a:gs>
            </a:gsLst>
            <a:lin ang="16200000" scaled="0"/>
          </a:gradFill>
          <a:ln>
            <a:noFill/>
          </a:ln>
          <a:effectLst>
            <a:outerShdw blurRad="25400" dist="63500" dir="2700000" algn="tl" rotWithShape="0">
              <a:prstClr val="black">
                <a:alpha val="20000"/>
              </a:prstClr>
            </a:outerShdw>
          </a:effectLst>
        </p:spPr>
        <p:txBody>
          <a:bodyPr vert="horz" wrap="square" lIns="42852" tIns="21425" rIns="42852" bIns="21425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prstClr val="white"/>
                </a:solidFill>
                <a:latin typeface="Calibri" panose="020F0502020204030204" pitchFamily="34" charset="0"/>
              </a:rPr>
              <a:t>3</a:t>
            </a:r>
            <a:endParaRPr kumimoji="0" lang="en-US" sz="16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1206E78-C902-3B0E-F9EF-05ED3D181A0D}"/>
              </a:ext>
            </a:extLst>
          </p:cNvPr>
          <p:cNvSpPr txBox="1"/>
          <p:nvPr/>
        </p:nvSpPr>
        <p:spPr>
          <a:xfrm>
            <a:off x="9679816" y="3918915"/>
            <a:ext cx="2015629" cy="397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5250" marR="0" lvl="1" indent="0" algn="ctr" defTabSz="7556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olution Testing &amp;   Production Go Live</a:t>
            </a:r>
            <a:endParaRPr kumimoji="0" lang="en-US" sz="11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93A4AA0-FE84-812A-EB4F-04C79269CF27}"/>
              </a:ext>
            </a:extLst>
          </p:cNvPr>
          <p:cNvSpPr/>
          <p:nvPr/>
        </p:nvSpPr>
        <p:spPr bwMode="auto">
          <a:xfrm>
            <a:off x="9679816" y="4597787"/>
            <a:ext cx="2303157" cy="10366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42852" tIns="21425" rIns="42852" bIns="21425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rgbClr val="FC931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riginal ETA – 04</a:t>
            </a:r>
            <a:r>
              <a:rPr lang="en-US" sz="1200" b="1" baseline="30000" noProof="0" dirty="0">
                <a:solidFill>
                  <a:srgbClr val="FC931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</a:t>
            </a:r>
            <a:r>
              <a:rPr lang="en-US" sz="1200" b="1" noProof="0" dirty="0">
                <a:solidFill>
                  <a:srgbClr val="FC931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N</a:t>
            </a: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rgbClr val="FC931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v’24</a:t>
            </a:r>
          </a:p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1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0" algn="ctr" defTabSz="914126">
              <a:defRPr/>
            </a:pPr>
            <a:r>
              <a:rPr lang="en-US" sz="12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ntative</a:t>
            </a: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en-US" sz="12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TA –</a:t>
            </a:r>
            <a:r>
              <a:rPr kumimoji="0" lang="en-US" sz="1200" b="1" u="none" strike="noStrike" kern="1200" cap="none" spc="0" normalizeH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6</a:t>
            </a:r>
            <a:r>
              <a:rPr kumimoji="0" lang="en-US" sz="1200" b="1" u="none" strike="noStrike" kern="1200" cap="none" spc="0" normalizeH="0" baseline="3000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h</a:t>
            </a: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Dec’24</a:t>
            </a:r>
          </a:p>
        </p:txBody>
      </p:sp>
    </p:spTree>
    <p:extLst>
      <p:ext uri="{BB962C8B-B14F-4D97-AF65-F5344CB8AC3E}">
        <p14:creationId xmlns:p14="http://schemas.microsoft.com/office/powerpoint/2010/main" val="3006284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23B3D9-5974-6DF1-41E8-FE8BB3E28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167678"/>
            <a:ext cx="11204448" cy="463610"/>
          </a:xfrm>
        </p:spPr>
        <p:txBody>
          <a:bodyPr/>
          <a:lstStyle/>
          <a:p>
            <a:r>
              <a:rPr lang="en-US" dirty="0"/>
              <a:t>CIAM – Profile Dashboard snapshot (WIP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CF66A7C-FACA-CDF4-CE52-E253CDBB61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828501-58BA-692E-22E4-583AADE806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076" name="Picture 4">
            <a:extLst>
              <a:ext uri="{FF2B5EF4-FFF2-40B4-BE49-F238E27FC236}">
                <a16:creationId xmlns:a16="http://schemas.microsoft.com/office/drawing/2014/main" id="{B894CF68-0210-2AF7-35DD-B9BFE52530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878" y="656562"/>
            <a:ext cx="11046599" cy="5544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4357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23B3D9-5974-6DF1-41E8-FE8BB3E28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167678"/>
            <a:ext cx="11204448" cy="463610"/>
          </a:xfrm>
        </p:spPr>
        <p:txBody>
          <a:bodyPr/>
          <a:lstStyle/>
          <a:p>
            <a:r>
              <a:rPr lang="en-US" dirty="0"/>
              <a:t>CIAM – Activity Dashboard snapshot (WIP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CF66A7C-FACA-CDF4-CE52-E253CDBB61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828501-58BA-692E-22E4-583AADE806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D8B432B7-1A96-ABFB-B243-62FA76D6CD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35" r="1453" b="3169"/>
          <a:stretch/>
        </p:blipFill>
        <p:spPr bwMode="auto">
          <a:xfrm>
            <a:off x="233916" y="762043"/>
            <a:ext cx="11355572" cy="56174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78489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23B3D9-5974-6DF1-41E8-FE8BB3E28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167678"/>
            <a:ext cx="11204448" cy="463610"/>
          </a:xfrm>
        </p:spPr>
        <p:txBody>
          <a:bodyPr/>
          <a:lstStyle/>
          <a:p>
            <a:r>
              <a:rPr lang="en-US" dirty="0"/>
              <a:t>Health Score Card – Dashboard snapsho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CF66A7C-FACA-CDF4-CE52-E253CDBB61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828501-58BA-692E-22E4-583AADE806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26" name="Picture 1">
            <a:extLst>
              <a:ext uri="{FF2B5EF4-FFF2-40B4-BE49-F238E27FC236}">
                <a16:creationId xmlns:a16="http://schemas.microsoft.com/office/drawing/2014/main" id="{1CAB3119-1030-FAF6-ECBB-7FA8AC16BF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811" y="779118"/>
            <a:ext cx="11204448" cy="52997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17352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052541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23B3D9-5974-6DF1-41E8-FE8BB3E28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167677"/>
            <a:ext cx="11204448" cy="814225"/>
          </a:xfrm>
        </p:spPr>
        <p:txBody>
          <a:bodyPr/>
          <a:lstStyle/>
          <a:p>
            <a:r>
              <a:rPr lang="en-US"/>
              <a:t>Summary of the CIAM Data Model for BI Reporting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CF66A7C-FACA-CDF4-CE52-E253CDBB61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828501-58BA-692E-22E4-583AADE806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7162" y="981902"/>
            <a:ext cx="11877675" cy="525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7228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cUEH2J4HibCRnIGpAbFA"/>
</p:tagLst>
</file>

<file path=ppt/theme/theme1.xml><?xml version="1.0" encoding="utf-8"?>
<a:theme xmlns:a="http://schemas.openxmlformats.org/drawingml/2006/main" name="Cox Communications 2019 Template (16x9)">
  <a:themeElements>
    <a:clrScheme name="Cox Communications 2019">
      <a:dk1>
        <a:srgbClr val="000000"/>
      </a:dk1>
      <a:lt1>
        <a:srgbClr val="FFFFFF"/>
      </a:lt1>
      <a:dk2>
        <a:srgbClr val="455051"/>
      </a:dk2>
      <a:lt2>
        <a:srgbClr val="B9C9D2"/>
      </a:lt2>
      <a:accent1>
        <a:srgbClr val="009AE0"/>
      </a:accent1>
      <a:accent2>
        <a:srgbClr val="285A93"/>
      </a:accent2>
      <a:accent3>
        <a:srgbClr val="00A846"/>
      </a:accent3>
      <a:accent4>
        <a:srgbClr val="127C65"/>
      </a:accent4>
      <a:accent5>
        <a:srgbClr val="028399"/>
      </a:accent5>
      <a:accent6>
        <a:srgbClr val="828E96"/>
      </a:accent6>
      <a:hlink>
        <a:srgbClr val="009AE0"/>
      </a:hlink>
      <a:folHlink>
        <a:srgbClr val="7D55A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chemeClr val="tx1">
                <a:lumMod val="65000"/>
                <a:lumOff val="35000"/>
              </a:schemeClr>
            </a:solidFill>
            <a:latin typeface="+mj-lt"/>
          </a:defRPr>
        </a:defPPr>
      </a:lstStyle>
    </a:txDef>
  </a:objectDefaults>
  <a:extraClrSchemeLst/>
  <a:custClrLst>
    <a:custClr name="COX Custom Orange">
      <a:srgbClr val="FC9318"/>
    </a:custClr>
    <a:custClr name="COX Custom Red">
      <a:srgbClr val="CD0000"/>
    </a:custClr>
    <a:custClr name="COX Custom Purple">
      <a:srgbClr val="7D55A0"/>
    </a:custClr>
  </a:custClrLst>
  <a:extLst>
    <a:ext uri="{05A4C25C-085E-4340-85A3-A5531E510DB2}">
      <thm15:themeFamily xmlns:thm15="http://schemas.microsoft.com/office/thememl/2012/main" name="Office Theme" id="{7C44F730-0DCC-4F6B-9774-F5D59B0B0284}" vid="{0757259E-854C-4462-8D68-7D72250E9CC8}"/>
    </a:ext>
  </a:extLst>
</a:theme>
</file>

<file path=ppt/theme/theme2.xml><?xml version="1.0" encoding="utf-8"?>
<a:theme xmlns:a="http://schemas.openxmlformats.org/drawingml/2006/main" name="2_Cox Communications 2019 Template (16x9)">
  <a:themeElements>
    <a:clrScheme name="Cox Communications 2019">
      <a:dk1>
        <a:srgbClr val="000000"/>
      </a:dk1>
      <a:lt1>
        <a:srgbClr val="FFFFFF"/>
      </a:lt1>
      <a:dk2>
        <a:srgbClr val="455051"/>
      </a:dk2>
      <a:lt2>
        <a:srgbClr val="B9C9D2"/>
      </a:lt2>
      <a:accent1>
        <a:srgbClr val="009AE0"/>
      </a:accent1>
      <a:accent2>
        <a:srgbClr val="285A93"/>
      </a:accent2>
      <a:accent3>
        <a:srgbClr val="00A846"/>
      </a:accent3>
      <a:accent4>
        <a:srgbClr val="127C65"/>
      </a:accent4>
      <a:accent5>
        <a:srgbClr val="028399"/>
      </a:accent5>
      <a:accent6>
        <a:srgbClr val="828E96"/>
      </a:accent6>
      <a:hlink>
        <a:srgbClr val="009AE0"/>
      </a:hlink>
      <a:folHlink>
        <a:srgbClr val="7D55A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chemeClr val="tx1">
                <a:lumMod val="65000"/>
                <a:lumOff val="35000"/>
              </a:schemeClr>
            </a:solidFill>
            <a:latin typeface="+mj-lt"/>
          </a:defRPr>
        </a:defPPr>
      </a:lstStyle>
    </a:txDef>
  </a:objectDefaults>
  <a:extraClrSchemeLst/>
  <a:custClrLst>
    <a:custClr name="COX Custom Orange">
      <a:srgbClr val="FC9318"/>
    </a:custClr>
    <a:custClr name="COX Custom Red">
      <a:srgbClr val="CD0000"/>
    </a:custClr>
    <a:custClr name="COX Custom Purple">
      <a:srgbClr val="7D55A0"/>
    </a:custClr>
  </a:custClrLst>
  <a:extLst>
    <a:ext uri="{05A4C25C-085E-4340-85A3-A5531E510DB2}">
      <thm15:themeFamily xmlns:thm15="http://schemas.microsoft.com/office/thememl/2012/main" name="Cox Template" id="{9D7ED8C9-5839-4D45-847A-830E5890C0E9}" vid="{462980A9-AAA7-F748-89EF-9F306C112592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96262C325E63C4996D03021E06489BC" ma:contentTypeVersion="4" ma:contentTypeDescription="Create a new document." ma:contentTypeScope="" ma:versionID="9cfdc94af1956de2f6875649e5cc6aff">
  <xsd:schema xmlns:xsd="http://www.w3.org/2001/XMLSchema" xmlns:xs="http://www.w3.org/2001/XMLSchema" xmlns:p="http://schemas.microsoft.com/office/2006/metadata/properties" xmlns:ns2="80b69f1d-ead9-4f3d-aa02-a5292de2edf1" targetNamespace="http://schemas.microsoft.com/office/2006/metadata/properties" ma:root="true" ma:fieldsID="028f7d4cddf4fba99f194a4e642f5fa6" ns2:_="">
    <xsd:import namespace="80b69f1d-ead9-4f3d-aa02-a5292de2edf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0b69f1d-ead9-4f3d-aa02-a5292de2edf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BC13AF2-E39A-4FD2-B967-9FAE27A81BE6}">
  <ds:schemaRefs>
    <ds:schemaRef ds:uri="http://schemas.microsoft.com/office/infopath/2007/PartnerControls"/>
    <ds:schemaRef ds:uri="http://www.w3.org/XML/1998/namespace"/>
    <ds:schemaRef ds:uri="http://schemas.microsoft.com/office/2006/metadata/properties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80b69f1d-ead9-4f3d-aa02-a5292de2edf1"/>
    <ds:schemaRef ds:uri="http://purl.org/dc/elements/1.1/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3C7B93A5-87F7-4E2E-A4AB-6C75B982D9F4}">
  <ds:schemaRefs>
    <ds:schemaRef ds:uri="80b69f1d-ead9-4f3d-aa02-a5292de2edf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9490CAD8-6F0C-42A0-89AB-C66F740BF3E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93</TotalTime>
  <Words>2207</Words>
  <Application>Microsoft Office PowerPoint</Application>
  <PresentationFormat>Widescreen</PresentationFormat>
  <Paragraphs>564</Paragraphs>
  <Slides>15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8" baseType="lpstr">
      <vt:lpstr>Aptos Narrow</vt:lpstr>
      <vt:lpstr>Arial</vt:lpstr>
      <vt:lpstr>Calibri</vt:lpstr>
      <vt:lpstr>Calibri Light</vt:lpstr>
      <vt:lpstr>Courier New</vt:lpstr>
      <vt:lpstr>Proxima Nova</vt:lpstr>
      <vt:lpstr>Proxima Nova Black</vt:lpstr>
      <vt:lpstr>Proxima Nova Light</vt:lpstr>
      <vt:lpstr>Segoe UI</vt:lpstr>
      <vt:lpstr>Wingdings</vt:lpstr>
      <vt:lpstr>Cox Communications 2019 Template (16x9)</vt:lpstr>
      <vt:lpstr>2_Cox Communications 2019 Template (16x9)</vt:lpstr>
      <vt:lpstr>think-cell Slide</vt:lpstr>
      <vt:lpstr>CIAM Project Updates</vt:lpstr>
      <vt:lpstr>CIAM DASHBOARD STATUS WE NOV 01ST, 2024 </vt:lpstr>
      <vt:lpstr>CB &amp; HEALTH SCORE STATUS WE NOV 01ST, 2024 </vt:lpstr>
      <vt:lpstr>COX - CIAM Project Status </vt:lpstr>
      <vt:lpstr>CIAM – Profile Dashboard snapshot (WIP)</vt:lpstr>
      <vt:lpstr>CIAM – Activity Dashboard snapshot (WIP)</vt:lpstr>
      <vt:lpstr>Health Score Card – Dashboard snapshot</vt:lpstr>
      <vt:lpstr>Thank You</vt:lpstr>
      <vt:lpstr>Summary of the CIAM Data Model for BI Reporting</vt:lpstr>
      <vt:lpstr>Project Status &amp; Milestones – Data Engineering Track</vt:lpstr>
      <vt:lpstr>Project Status &amp; Milestones – BI &amp; Reporting Track</vt:lpstr>
      <vt:lpstr>COX - CIAM Data Engg and BI Reporting  - Overview</vt:lpstr>
      <vt:lpstr>Original Project Plan</vt:lpstr>
      <vt:lpstr>CIAM - Functions, Initiatives and Metrics Mapping (Original)</vt:lpstr>
      <vt:lpstr>Summary of the CIAM BI Reporting  Metric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mith, Lois (CCI-Atlanta)</dc:creator>
  <cp:lastModifiedBy>Harvinder Singh59</cp:lastModifiedBy>
  <cp:revision>91</cp:revision>
  <cp:lastPrinted>2023-03-15T15:20:58Z</cp:lastPrinted>
  <dcterms:created xsi:type="dcterms:W3CDTF">2016-12-14T14:35:04Z</dcterms:created>
  <dcterms:modified xsi:type="dcterms:W3CDTF">2024-11-01T14:08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96262C325E63C4996D03021E06489BC</vt:lpwstr>
  </property>
</Properties>
</file>